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8.xml" ContentType="application/vnd.openxmlformats-officedocument.presentationml.tags+xml"/>
  <Override PartName="/ppt/notesSlides/notesSlide20.xml" ContentType="application/vnd.openxmlformats-officedocument.presentationml.notesSlide+xml"/>
  <Override PartName="/ppt/tags/tag19.xml" ContentType="application/vnd.openxmlformats-officedocument.presentationml.tags+xml"/>
  <Override PartName="/ppt/notesSlides/notesSlide21.xml" ContentType="application/vnd.openxmlformats-officedocument.presentationml.notesSlide+xml"/>
  <Override PartName="/ppt/tags/tag20.xml" ContentType="application/vnd.openxmlformats-officedocument.presentationml.tags+xml"/>
  <Override PartName="/ppt/notesSlides/notesSlide2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3.xml" ContentType="application/vnd.openxmlformats-officedocument.presentationml.notesSlide+xml"/>
  <Override PartName="/ppt/tags/tag23.xml" ContentType="application/vnd.openxmlformats-officedocument.presentationml.tags+xml"/>
  <Override PartName="/ppt/notesSlides/notesSlide24.xml" ContentType="application/vnd.openxmlformats-officedocument.presentationml.notesSlide+xml"/>
  <Override PartName="/ppt/tags/tag24.xml" ContentType="application/vnd.openxmlformats-officedocument.presentationml.tags+xml"/>
  <Override PartName="/ppt/notesSlides/notesSlide25.xml" ContentType="application/vnd.openxmlformats-officedocument.presentationml.notesSlide+xml"/>
  <Override PartName="/ppt/tags/tag25.xml" ContentType="application/vnd.openxmlformats-officedocument.presentationml.tags+xml"/>
  <Override PartName="/ppt/notesSlides/notesSlide26.xml" ContentType="application/vnd.openxmlformats-officedocument.presentationml.notesSlide+xml"/>
  <Override PartName="/ppt/tags/tag26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725" r:id="rId1"/>
  </p:sldMasterIdLst>
  <p:notesMasterIdLst>
    <p:notesMasterId r:id="rId37"/>
  </p:notesMasterIdLst>
  <p:handoutMasterIdLst>
    <p:handoutMasterId r:id="rId38"/>
  </p:handoutMasterIdLst>
  <p:sldIdLst>
    <p:sldId id="695" r:id="rId2"/>
    <p:sldId id="672" r:id="rId3"/>
    <p:sldId id="729" r:id="rId4"/>
    <p:sldId id="732" r:id="rId5"/>
    <p:sldId id="724" r:id="rId6"/>
    <p:sldId id="730" r:id="rId7"/>
    <p:sldId id="723" r:id="rId8"/>
    <p:sldId id="733" r:id="rId9"/>
    <p:sldId id="734" r:id="rId10"/>
    <p:sldId id="725" r:id="rId11"/>
    <p:sldId id="721" r:id="rId12"/>
    <p:sldId id="726" r:id="rId13"/>
    <p:sldId id="706" r:id="rId14"/>
    <p:sldId id="708" r:id="rId15"/>
    <p:sldId id="717" r:id="rId16"/>
    <p:sldId id="709" r:id="rId17"/>
    <p:sldId id="727" r:id="rId18"/>
    <p:sldId id="718" r:id="rId19"/>
    <p:sldId id="710" r:id="rId20"/>
    <p:sldId id="728" r:id="rId21"/>
    <p:sldId id="711" r:id="rId22"/>
    <p:sldId id="712" r:id="rId23"/>
    <p:sldId id="714" r:id="rId24"/>
    <p:sldId id="736" r:id="rId25"/>
    <p:sldId id="719" r:id="rId26"/>
    <p:sldId id="704" r:id="rId27"/>
    <p:sldId id="720" r:id="rId28"/>
    <p:sldId id="716" r:id="rId29"/>
    <p:sldId id="722" r:id="rId30"/>
    <p:sldId id="735" r:id="rId31"/>
    <p:sldId id="699" r:id="rId32"/>
    <p:sldId id="713" r:id="rId33"/>
    <p:sldId id="705" r:id="rId34"/>
    <p:sldId id="693" r:id="rId35"/>
    <p:sldId id="694" r:id="rId36"/>
  </p:sldIdLst>
  <p:sldSz cx="12192000" cy="6858000"/>
  <p:notesSz cx="7099300" cy="10234613"/>
  <p:custDataLst>
    <p:tags r:id="rId3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2" orient="horz" pos="618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pos="7499" userDrawn="1">
          <p15:clr>
            <a:srgbClr val="A4A3A4"/>
          </p15:clr>
        </p15:guide>
        <p15:guide id="5" pos="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000"/>
    <a:srgbClr val="FA7D00"/>
    <a:srgbClr val="D66B00"/>
    <a:srgbClr val="0065BD"/>
    <a:srgbClr val="91AC6B"/>
    <a:srgbClr val="C0C0C0"/>
    <a:srgbClr val="000000"/>
    <a:srgbClr val="ECE8C2"/>
    <a:srgbClr val="41BEFF"/>
    <a:srgbClr val="CB6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58FCB8-1969-43B9-BB9C-CA2C54090BA9}" v="674" dt="2023-06-28T11:31:10.8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49" autoAdjust="0"/>
    <p:restoredTop sz="78035" autoAdjust="0"/>
  </p:normalViewPr>
  <p:slideViewPr>
    <p:cSldViewPr>
      <p:cViewPr varScale="1">
        <p:scale>
          <a:sx n="65" d="100"/>
          <a:sy n="65" d="100"/>
        </p:scale>
        <p:origin x="1051" y="31"/>
      </p:cViewPr>
      <p:guideLst>
        <p:guide orient="horz" pos="618"/>
        <p:guide orient="horz" pos="4042"/>
        <p:guide pos="7499"/>
        <p:guide pos="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3186" y="96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46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" userId="b4fbace6-72ad-4592-b27d-535191bf0bec" providerId="ADAL" clId="{43491469-63E5-4AF4-A451-2151A57B2BCA}"/>
    <pc:docChg chg="undo custSel addSld delSld modSld replTag">
      <pc:chgData name="Alexandre" userId="b4fbace6-72ad-4592-b27d-535191bf0bec" providerId="ADAL" clId="{43491469-63E5-4AF4-A451-2151A57B2BCA}" dt="2023-06-14T01:16:22.143" v="3176"/>
      <pc:docMkLst>
        <pc:docMk/>
      </pc:docMkLst>
      <pc:sldChg chg="modSp mod">
        <pc:chgData name="Alexandre" userId="b4fbace6-72ad-4592-b27d-535191bf0bec" providerId="ADAL" clId="{43491469-63E5-4AF4-A451-2151A57B2BCA}" dt="2023-06-13T23:26:49.875" v="1102" actId="20577"/>
        <pc:sldMkLst>
          <pc:docMk/>
          <pc:sldMk cId="1496881392" sldId="672"/>
        </pc:sldMkLst>
        <pc:spChg chg="mod">
          <ac:chgData name="Alexandre" userId="b4fbace6-72ad-4592-b27d-535191bf0bec" providerId="ADAL" clId="{43491469-63E5-4AF4-A451-2151A57B2BCA}" dt="2023-06-13T23:26:49.875" v="1102" actId="20577"/>
          <ac:spMkLst>
            <pc:docMk/>
            <pc:sldMk cId="1496881392" sldId="672"/>
            <ac:spMk id="3" creationId="{00000000-0000-0000-0000-000000000000}"/>
          </ac:spMkLst>
        </pc:spChg>
      </pc:sldChg>
      <pc:sldChg chg="mod modTransition modShow">
        <pc:chgData name="Alexandre" userId="b4fbace6-72ad-4592-b27d-535191bf0bec" providerId="ADAL" clId="{43491469-63E5-4AF4-A451-2151A57B2BCA}" dt="2023-06-13T21:00:55.496" v="634"/>
        <pc:sldMkLst>
          <pc:docMk/>
          <pc:sldMk cId="4097628108" sldId="693"/>
        </pc:sldMkLst>
      </pc:sldChg>
      <pc:sldChg chg="mod modTransition modShow">
        <pc:chgData name="Alexandre" userId="b4fbace6-72ad-4592-b27d-535191bf0bec" providerId="ADAL" clId="{43491469-63E5-4AF4-A451-2151A57B2BCA}" dt="2023-06-13T21:00:57.824" v="636"/>
        <pc:sldMkLst>
          <pc:docMk/>
          <pc:sldMk cId="1624702422" sldId="694"/>
        </pc:sldMkLst>
      </pc:sldChg>
      <pc:sldChg chg="addSp delSp modSp mod modNotesTx">
        <pc:chgData name="Alexandre" userId="b4fbace6-72ad-4592-b27d-535191bf0bec" providerId="ADAL" clId="{43491469-63E5-4AF4-A451-2151A57B2BCA}" dt="2023-06-13T21:01:13.807" v="665"/>
        <pc:sldMkLst>
          <pc:docMk/>
          <pc:sldMk cId="1327605788" sldId="695"/>
        </pc:sldMkLst>
        <pc:spChg chg="add del mod modVis">
          <ac:chgData name="Alexandre" userId="b4fbace6-72ad-4592-b27d-535191bf0bec" providerId="ADAL" clId="{43491469-63E5-4AF4-A451-2151A57B2BCA}" dt="2023-06-13T15:45:21.972" v="27"/>
          <ac:spMkLst>
            <pc:docMk/>
            <pc:sldMk cId="1327605788" sldId="695"/>
            <ac:spMk id="2" creationId="{BC6830C4-E3C3-3997-57C5-CA2F95082EEE}"/>
          </ac:spMkLst>
        </pc:spChg>
        <pc:spChg chg="add del mod modVis">
          <ac:chgData name="Alexandre" userId="b4fbace6-72ad-4592-b27d-535191bf0bec" providerId="ADAL" clId="{43491469-63E5-4AF4-A451-2151A57B2BCA}" dt="2023-06-13T15:45:23.077" v="56"/>
          <ac:spMkLst>
            <pc:docMk/>
            <pc:sldMk cId="1327605788" sldId="695"/>
            <ac:spMk id="4" creationId="{F6903541-9E5C-8EF3-04C3-F6D9E8824485}"/>
          </ac:spMkLst>
        </pc:spChg>
        <pc:spChg chg="add del mod modVis">
          <ac:chgData name="Alexandre" userId="b4fbace6-72ad-4592-b27d-535191bf0bec" providerId="ADAL" clId="{43491469-63E5-4AF4-A451-2151A57B2BCA}" dt="2023-06-13T15:45:23.647" v="84"/>
          <ac:spMkLst>
            <pc:docMk/>
            <pc:sldMk cId="1327605788" sldId="695"/>
            <ac:spMk id="5" creationId="{6817B80A-75DA-B9C2-A856-DE71612D313C}"/>
          </ac:spMkLst>
        </pc:spChg>
        <pc:spChg chg="add del mod modVis">
          <ac:chgData name="Alexandre" userId="b4fbace6-72ad-4592-b27d-535191bf0bec" providerId="ADAL" clId="{43491469-63E5-4AF4-A451-2151A57B2BCA}" dt="2023-06-13T15:50:24.671" v="113"/>
          <ac:spMkLst>
            <pc:docMk/>
            <pc:sldMk cId="1327605788" sldId="695"/>
            <ac:spMk id="6" creationId="{C9E2BF44-A689-4F11-C8DE-D2CD1E28FCC2}"/>
          </ac:spMkLst>
        </pc:spChg>
        <pc:spChg chg="add del mod modVis">
          <ac:chgData name="Alexandre" userId="b4fbace6-72ad-4592-b27d-535191bf0bec" providerId="ADAL" clId="{43491469-63E5-4AF4-A451-2151A57B2BCA}" dt="2023-06-13T15:50:25.652" v="142"/>
          <ac:spMkLst>
            <pc:docMk/>
            <pc:sldMk cId="1327605788" sldId="695"/>
            <ac:spMk id="7" creationId="{5F485B1F-031B-79FB-4F15-2122AF4030E2}"/>
          </ac:spMkLst>
        </pc:spChg>
        <pc:spChg chg="add del mod modVis">
          <ac:chgData name="Alexandre" userId="b4fbace6-72ad-4592-b27d-535191bf0bec" providerId="ADAL" clId="{43491469-63E5-4AF4-A451-2151A57B2BCA}" dt="2023-06-13T15:50:26.981" v="173"/>
          <ac:spMkLst>
            <pc:docMk/>
            <pc:sldMk cId="1327605788" sldId="695"/>
            <ac:spMk id="8" creationId="{940F2B0C-2AED-0356-0A16-F436FFCF30E5}"/>
          </ac:spMkLst>
        </pc:spChg>
        <pc:spChg chg="add del mod modVis">
          <ac:chgData name="Alexandre" userId="b4fbace6-72ad-4592-b27d-535191bf0bec" providerId="ADAL" clId="{43491469-63E5-4AF4-A451-2151A57B2BCA}" dt="2023-06-13T15:50:28.205" v="205"/>
          <ac:spMkLst>
            <pc:docMk/>
            <pc:sldMk cId="1327605788" sldId="695"/>
            <ac:spMk id="9" creationId="{4C051F0E-A316-5BEC-98EC-1DC7CD5C1636}"/>
          </ac:spMkLst>
        </pc:spChg>
        <pc:spChg chg="add del mod modVis">
          <ac:chgData name="Alexandre" userId="b4fbace6-72ad-4592-b27d-535191bf0bec" providerId="ADAL" clId="{43491469-63E5-4AF4-A451-2151A57B2BCA}" dt="2023-06-13T15:50:29.270" v="235"/>
          <ac:spMkLst>
            <pc:docMk/>
            <pc:sldMk cId="1327605788" sldId="695"/>
            <ac:spMk id="10" creationId="{AE88B317-E581-ED21-01BB-C3A04DC2C326}"/>
          </ac:spMkLst>
        </pc:spChg>
        <pc:spChg chg="mod">
          <ac:chgData name="Alexandre" userId="b4fbace6-72ad-4592-b27d-535191bf0bec" providerId="ADAL" clId="{43491469-63E5-4AF4-A451-2151A57B2BCA}" dt="2023-06-13T21:01:13.769" v="639" actId="948"/>
          <ac:spMkLst>
            <pc:docMk/>
            <pc:sldMk cId="1327605788" sldId="695"/>
            <ac:spMk id="12" creationId="{00000000-0000-0000-0000-000000000000}"/>
          </ac:spMkLst>
        </pc:spChg>
        <pc:spChg chg="add del mod modVis">
          <ac:chgData name="Alexandre" userId="b4fbace6-72ad-4592-b27d-535191bf0bec" providerId="ADAL" clId="{43491469-63E5-4AF4-A451-2151A57B2BCA}" dt="2023-06-13T15:50:29.958" v="263"/>
          <ac:spMkLst>
            <pc:docMk/>
            <pc:sldMk cId="1327605788" sldId="695"/>
            <ac:spMk id="14" creationId="{0EB55B48-5C87-A061-E460-2EC96B49E14A}"/>
          </ac:spMkLst>
        </pc:spChg>
        <pc:spChg chg="add del mod modVis">
          <ac:chgData name="Alexandre" userId="b4fbace6-72ad-4592-b27d-535191bf0bec" providerId="ADAL" clId="{43491469-63E5-4AF4-A451-2151A57B2BCA}" dt="2023-06-13T15:50:31.394" v="295"/>
          <ac:spMkLst>
            <pc:docMk/>
            <pc:sldMk cId="1327605788" sldId="695"/>
            <ac:spMk id="15" creationId="{C9F03EF7-44D2-074E-C372-433673408013}"/>
          </ac:spMkLst>
        </pc:spChg>
        <pc:spChg chg="add del mod modVis">
          <ac:chgData name="Alexandre" userId="b4fbace6-72ad-4592-b27d-535191bf0bec" providerId="ADAL" clId="{43491469-63E5-4AF4-A451-2151A57B2BCA}" dt="2023-06-13T15:50:32.636" v="325"/>
          <ac:spMkLst>
            <pc:docMk/>
            <pc:sldMk cId="1327605788" sldId="695"/>
            <ac:spMk id="16" creationId="{D7803F5F-67B6-4044-AB79-429C09497D4E}"/>
          </ac:spMkLst>
        </pc:spChg>
        <pc:spChg chg="add del mod modVis">
          <ac:chgData name="Alexandre" userId="b4fbace6-72ad-4592-b27d-535191bf0bec" providerId="ADAL" clId="{43491469-63E5-4AF4-A451-2151A57B2BCA}" dt="2023-06-13T15:50:34.054" v="357"/>
          <ac:spMkLst>
            <pc:docMk/>
            <pc:sldMk cId="1327605788" sldId="695"/>
            <ac:spMk id="17" creationId="{7129A024-1E09-8861-A655-972872A12923}"/>
          </ac:spMkLst>
        </pc:spChg>
        <pc:spChg chg="add del mod modVis">
          <ac:chgData name="Alexandre" userId="b4fbace6-72ad-4592-b27d-535191bf0bec" providerId="ADAL" clId="{43491469-63E5-4AF4-A451-2151A57B2BCA}" dt="2023-06-13T15:50:37.213" v="394"/>
          <ac:spMkLst>
            <pc:docMk/>
            <pc:sldMk cId="1327605788" sldId="695"/>
            <ac:spMk id="18" creationId="{D637234C-FBAD-45E3-14F5-21E65ADCAE3F}"/>
          </ac:spMkLst>
        </pc:spChg>
        <pc:spChg chg="add del mod modVis">
          <ac:chgData name="Alexandre" userId="b4fbace6-72ad-4592-b27d-535191bf0bec" providerId="ADAL" clId="{43491469-63E5-4AF4-A451-2151A57B2BCA}" dt="2023-06-13T15:50:41.810" v="433"/>
          <ac:spMkLst>
            <pc:docMk/>
            <pc:sldMk cId="1327605788" sldId="695"/>
            <ac:spMk id="19" creationId="{228D6030-C600-4F8B-CDB4-2A9CE9436CFA}"/>
          </ac:spMkLst>
        </pc:spChg>
        <pc:spChg chg="add del mod modVis">
          <ac:chgData name="Alexandre" userId="b4fbace6-72ad-4592-b27d-535191bf0bec" providerId="ADAL" clId="{43491469-63E5-4AF4-A451-2151A57B2BCA}" dt="2023-06-13T15:50:43.831" v="467"/>
          <ac:spMkLst>
            <pc:docMk/>
            <pc:sldMk cId="1327605788" sldId="695"/>
            <ac:spMk id="20" creationId="{A7ED4C5A-A4D9-D0AE-7583-C8A4CFAA2B09}"/>
          </ac:spMkLst>
        </pc:spChg>
        <pc:spChg chg="add del mod modVis">
          <ac:chgData name="Alexandre" userId="b4fbace6-72ad-4592-b27d-535191bf0bec" providerId="ADAL" clId="{43491469-63E5-4AF4-A451-2151A57B2BCA}" dt="2023-06-13T15:50:44.586" v="495"/>
          <ac:spMkLst>
            <pc:docMk/>
            <pc:sldMk cId="1327605788" sldId="695"/>
            <ac:spMk id="21" creationId="{EBFE09C1-9E42-DD8F-06ED-FF3D9B3C9901}"/>
          </ac:spMkLst>
        </pc:spChg>
        <pc:spChg chg="add del mod modVis">
          <ac:chgData name="Alexandre" userId="b4fbace6-72ad-4592-b27d-535191bf0bec" providerId="ADAL" clId="{43491469-63E5-4AF4-A451-2151A57B2BCA}" dt="2023-06-13T15:50:49.264" v="527"/>
          <ac:spMkLst>
            <pc:docMk/>
            <pc:sldMk cId="1327605788" sldId="695"/>
            <ac:spMk id="22" creationId="{0E748C20-E12F-9BBD-F8E9-6A8381BBD24C}"/>
          </ac:spMkLst>
        </pc:spChg>
        <pc:spChg chg="add del mod modVis">
          <ac:chgData name="Alexandre" userId="b4fbace6-72ad-4592-b27d-535191bf0bec" providerId="ADAL" clId="{43491469-63E5-4AF4-A451-2151A57B2BCA}" dt="2023-06-13T15:50:50.921" v="560"/>
          <ac:spMkLst>
            <pc:docMk/>
            <pc:sldMk cId="1327605788" sldId="695"/>
            <ac:spMk id="23" creationId="{2BE7870D-829A-56C7-606B-BE93399B9ABD}"/>
          </ac:spMkLst>
        </pc:spChg>
        <pc:spChg chg="add del mod modVis">
          <ac:chgData name="Alexandre" userId="b4fbace6-72ad-4592-b27d-535191bf0bec" providerId="ADAL" clId="{43491469-63E5-4AF4-A451-2151A57B2BCA}" dt="2023-06-13T15:50:54.064" v="600"/>
          <ac:spMkLst>
            <pc:docMk/>
            <pc:sldMk cId="1327605788" sldId="695"/>
            <ac:spMk id="24" creationId="{E1C29F9C-60CC-4990-91D0-6A89F8D3B5D6}"/>
          </ac:spMkLst>
        </pc:spChg>
        <pc:spChg chg="add del mod modVis">
          <ac:chgData name="Alexandre" userId="b4fbace6-72ad-4592-b27d-535191bf0bec" providerId="ADAL" clId="{43491469-63E5-4AF4-A451-2151A57B2BCA}" dt="2023-06-13T21:01:13.800" v="663"/>
          <ac:spMkLst>
            <pc:docMk/>
            <pc:sldMk cId="1327605788" sldId="695"/>
            <ac:spMk id="25" creationId="{B93785B9-CA4D-674F-F72E-466E3D9D3941}"/>
          </ac:spMkLst>
        </pc:spChg>
        <pc:graphicFrameChg chg="mod">
          <ac:chgData name="Alexandre" userId="b4fbace6-72ad-4592-b27d-535191bf0bec" providerId="ADAL" clId="{43491469-63E5-4AF4-A451-2151A57B2BCA}" dt="2023-06-13T21:01:13.807" v="665"/>
          <ac:graphicFrameMkLst>
            <pc:docMk/>
            <pc:sldMk cId="1327605788" sldId="695"/>
            <ac:graphicFrameMk id="3" creationId="{C3F17383-8114-3E75-825A-874E2665B2D1}"/>
          </ac:graphicFrameMkLst>
        </pc:graphicFrameChg>
      </pc:sldChg>
      <pc:sldChg chg="modSp mod">
        <pc:chgData name="Alexandre" userId="b4fbace6-72ad-4592-b27d-535191bf0bec" providerId="ADAL" clId="{43491469-63E5-4AF4-A451-2151A57B2BCA}" dt="2023-06-13T23:26:54.644" v="1104" actId="20577"/>
        <pc:sldMkLst>
          <pc:docMk/>
          <pc:sldMk cId="2563700865" sldId="696"/>
        </pc:sldMkLst>
        <pc:spChg chg="mod">
          <ac:chgData name="Alexandre" userId="b4fbace6-72ad-4592-b27d-535191bf0bec" providerId="ADAL" clId="{43491469-63E5-4AF4-A451-2151A57B2BCA}" dt="2023-06-13T23:26:54.644" v="1104" actId="20577"/>
          <ac:spMkLst>
            <pc:docMk/>
            <pc:sldMk cId="2563700865" sldId="696"/>
            <ac:spMk id="3" creationId="{00000000-0000-0000-0000-000000000000}"/>
          </ac:spMkLst>
        </pc:spChg>
      </pc:sldChg>
      <pc:sldChg chg="modSp mod">
        <pc:chgData name="Alexandre" userId="b4fbace6-72ad-4592-b27d-535191bf0bec" providerId="ADAL" clId="{43491469-63E5-4AF4-A451-2151A57B2BCA}" dt="2023-06-13T23:26:58.381" v="1106" actId="20577"/>
        <pc:sldMkLst>
          <pc:docMk/>
          <pc:sldMk cId="2683373587" sldId="697"/>
        </pc:sldMkLst>
        <pc:spChg chg="mod">
          <ac:chgData name="Alexandre" userId="b4fbace6-72ad-4592-b27d-535191bf0bec" providerId="ADAL" clId="{43491469-63E5-4AF4-A451-2151A57B2BCA}" dt="2023-06-13T23:26:58.381" v="1106" actId="20577"/>
          <ac:spMkLst>
            <pc:docMk/>
            <pc:sldMk cId="2683373587" sldId="697"/>
            <ac:spMk id="3" creationId="{00000000-0000-0000-0000-000000000000}"/>
          </ac:spMkLst>
        </pc:spChg>
      </pc:sldChg>
      <pc:sldChg chg="modSp mod">
        <pc:chgData name="Alexandre" userId="b4fbace6-72ad-4592-b27d-535191bf0bec" providerId="ADAL" clId="{43491469-63E5-4AF4-A451-2151A57B2BCA}" dt="2023-06-13T23:27:03.240" v="1108" actId="20577"/>
        <pc:sldMkLst>
          <pc:docMk/>
          <pc:sldMk cId="2007659245" sldId="698"/>
        </pc:sldMkLst>
        <pc:spChg chg="mod">
          <ac:chgData name="Alexandre" userId="b4fbace6-72ad-4592-b27d-535191bf0bec" providerId="ADAL" clId="{43491469-63E5-4AF4-A451-2151A57B2BCA}" dt="2023-06-13T23:27:03.240" v="1108" actId="20577"/>
          <ac:spMkLst>
            <pc:docMk/>
            <pc:sldMk cId="2007659245" sldId="698"/>
            <ac:spMk id="3" creationId="{00000000-0000-0000-0000-000000000000}"/>
          </ac:spMkLst>
        </pc:spChg>
      </pc:sldChg>
      <pc:sldChg chg="addSp delSp modSp mod modTransition addAnim delAnim modShow">
        <pc:chgData name="Alexandre" userId="b4fbace6-72ad-4592-b27d-535191bf0bec" providerId="ADAL" clId="{43491469-63E5-4AF4-A451-2151A57B2BCA}" dt="2023-06-13T23:08:11.158" v="767"/>
        <pc:sldMkLst>
          <pc:docMk/>
          <pc:sldMk cId="650773634" sldId="700"/>
        </pc:sldMkLst>
        <pc:spChg chg="mod">
          <ac:chgData name="Alexandre" userId="b4fbace6-72ad-4592-b27d-535191bf0bec" providerId="ADAL" clId="{43491469-63E5-4AF4-A451-2151A57B2BCA}" dt="2023-06-13T23:07:55.174" v="762" actId="20577"/>
          <ac:spMkLst>
            <pc:docMk/>
            <pc:sldMk cId="650773634" sldId="700"/>
            <ac:spMk id="7" creationId="{EE271423-2E6F-36F7-EB41-2FC819A8D899}"/>
          </ac:spMkLst>
        </pc:spChg>
        <pc:spChg chg="add del">
          <ac:chgData name="Alexandre" userId="b4fbace6-72ad-4592-b27d-535191bf0bec" providerId="ADAL" clId="{43491469-63E5-4AF4-A451-2151A57B2BCA}" dt="2023-06-13T23:07:55.514" v="763" actId="478"/>
          <ac:spMkLst>
            <pc:docMk/>
            <pc:sldMk cId="650773634" sldId="700"/>
            <ac:spMk id="29" creationId="{0170F7FA-FC53-C0BF-63B4-D95C73620F83}"/>
          </ac:spMkLst>
        </pc:spChg>
      </pc:sldChg>
      <pc:sldChg chg="del">
        <pc:chgData name="Alexandre" userId="b4fbace6-72ad-4592-b27d-535191bf0bec" providerId="ADAL" clId="{43491469-63E5-4AF4-A451-2151A57B2BCA}" dt="2023-06-13T23:08:14.494" v="768" actId="47"/>
        <pc:sldMkLst>
          <pc:docMk/>
          <pc:sldMk cId="3712962803" sldId="701"/>
        </pc:sldMkLst>
      </pc:sldChg>
      <pc:sldChg chg="addSp modSp del mod">
        <pc:chgData name="Alexandre" userId="b4fbace6-72ad-4592-b27d-535191bf0bec" providerId="ADAL" clId="{43491469-63E5-4AF4-A451-2151A57B2BCA}" dt="2023-06-13T23:47:50.415" v="1533" actId="47"/>
        <pc:sldMkLst>
          <pc:docMk/>
          <pc:sldMk cId="2827051956" sldId="702"/>
        </pc:sldMkLst>
        <pc:spChg chg="mod">
          <ac:chgData name="Alexandre" userId="b4fbace6-72ad-4592-b27d-535191bf0bec" providerId="ADAL" clId="{43491469-63E5-4AF4-A451-2151A57B2BCA}" dt="2023-06-13T23:27:36.426" v="1175" actId="948"/>
          <ac:spMkLst>
            <pc:docMk/>
            <pc:sldMk cId="2827051956" sldId="702"/>
            <ac:spMk id="2" creationId="{32A92DB8-5530-5193-7884-E06332096CE9}"/>
          </ac:spMkLst>
        </pc:spChg>
        <pc:graphicFrameChg chg="add mod ord modVis replST">
          <ac:chgData name="Alexandre" userId="b4fbace6-72ad-4592-b27d-535191bf0bec" providerId="ADAL" clId="{43491469-63E5-4AF4-A451-2151A57B2BCA}" dt="2023-06-13T23:27:36.456" v="1192"/>
          <ac:graphicFrameMkLst>
            <pc:docMk/>
            <pc:sldMk cId="2827051956" sldId="702"/>
            <ac:graphicFrameMk id="3" creationId="{207796D5-D9DF-5EBF-65E6-B4611FE2B512}"/>
          </ac:graphicFrameMkLst>
        </pc:graphicFrameChg>
      </pc:sldChg>
      <pc:sldChg chg="addSp modSp mod modTransition modShow">
        <pc:chgData name="Alexandre" userId="b4fbace6-72ad-4592-b27d-535191bf0bec" providerId="ADAL" clId="{43491469-63E5-4AF4-A451-2151A57B2BCA}" dt="2023-06-13T23:47:36.026" v="1532"/>
        <pc:sldMkLst>
          <pc:docMk/>
          <pc:sldMk cId="3494066010" sldId="703"/>
        </pc:sldMkLst>
        <pc:spChg chg="mod">
          <ac:chgData name="Alexandre" userId="b4fbace6-72ad-4592-b27d-535191bf0bec" providerId="ADAL" clId="{43491469-63E5-4AF4-A451-2151A57B2BCA}" dt="2023-06-13T23:27:24.750" v="1141" actId="948"/>
          <ac:spMkLst>
            <pc:docMk/>
            <pc:sldMk cId="3494066010" sldId="703"/>
            <ac:spMk id="2" creationId="{46E6141E-53A8-BCAC-C1F8-966D5A59C470}"/>
          </ac:spMkLst>
        </pc:spChg>
        <pc:graphicFrameChg chg="add mod ord modVis replST delST">
          <ac:chgData name="Alexandre" userId="b4fbace6-72ad-4592-b27d-535191bf0bec" providerId="ADAL" clId="{43491469-63E5-4AF4-A451-2151A57B2BCA}" dt="2023-06-13T23:27:21.935" v="1134" actId="14100"/>
          <ac:graphicFrameMkLst>
            <pc:docMk/>
            <pc:sldMk cId="3494066010" sldId="703"/>
            <ac:graphicFrameMk id="3" creationId="{AB1E5D6C-20ED-5DF3-539E-8E695AA8A4BC}"/>
          </ac:graphicFrameMkLst>
        </pc:graphicFrameChg>
        <pc:graphicFrameChg chg="add mod ord modVis replST">
          <ac:chgData name="Alexandre" userId="b4fbace6-72ad-4592-b27d-535191bf0bec" providerId="ADAL" clId="{43491469-63E5-4AF4-A451-2151A57B2BCA}" dt="2023-06-13T23:27:24.780" v="1158"/>
          <ac:graphicFrameMkLst>
            <pc:docMk/>
            <pc:sldMk cId="3494066010" sldId="703"/>
            <ac:graphicFrameMk id="8" creationId="{C6A4772D-D5C5-10AA-0A89-112F4994572A}"/>
          </ac:graphicFrameMkLst>
        </pc:graphicFrameChg>
      </pc:sldChg>
      <pc:sldChg chg="addSp modSp mod">
        <pc:chgData name="Alexandre" userId="b4fbace6-72ad-4592-b27d-535191bf0bec" providerId="ADAL" clId="{43491469-63E5-4AF4-A451-2151A57B2BCA}" dt="2023-06-14T00:54:50.751" v="2595" actId="20577"/>
        <pc:sldMkLst>
          <pc:docMk/>
          <pc:sldMk cId="3921475878" sldId="704"/>
        </pc:sldMkLst>
        <pc:spChg chg="mod">
          <ac:chgData name="Alexandre" userId="b4fbace6-72ad-4592-b27d-535191bf0bec" providerId="ADAL" clId="{43491469-63E5-4AF4-A451-2151A57B2BCA}" dt="2023-06-14T00:50:40.672" v="2443" actId="948"/>
          <ac:spMkLst>
            <pc:docMk/>
            <pc:sldMk cId="3921475878" sldId="704"/>
            <ac:spMk id="2" creationId="{F6BC011C-B5B2-7D6E-6BA4-774C57C13EB5}"/>
          </ac:spMkLst>
        </pc:spChg>
        <pc:spChg chg="mod">
          <ac:chgData name="Alexandre" userId="b4fbace6-72ad-4592-b27d-535191bf0bec" providerId="ADAL" clId="{43491469-63E5-4AF4-A451-2151A57B2BCA}" dt="2023-06-14T00:50:03.995" v="2420" actId="20577"/>
          <ac:spMkLst>
            <pc:docMk/>
            <pc:sldMk cId="3921475878" sldId="704"/>
            <ac:spMk id="3" creationId="{927FA977-8671-3A62-1A67-E68F2D50F5FB}"/>
          </ac:spMkLst>
        </pc:spChg>
        <pc:spChg chg="mod">
          <ac:chgData name="Alexandre" userId="b4fbace6-72ad-4592-b27d-535191bf0bec" providerId="ADAL" clId="{43491469-63E5-4AF4-A451-2151A57B2BCA}" dt="2023-06-14T00:54:10.381" v="2562" actId="179"/>
          <ac:spMkLst>
            <pc:docMk/>
            <pc:sldMk cId="3921475878" sldId="704"/>
            <ac:spMk id="8" creationId="{F9A3A31E-C627-93F1-832A-E4E04873D1CF}"/>
          </ac:spMkLst>
        </pc:spChg>
        <pc:spChg chg="mod">
          <ac:chgData name="Alexandre" userId="b4fbace6-72ad-4592-b27d-535191bf0bec" providerId="ADAL" clId="{43491469-63E5-4AF4-A451-2151A57B2BCA}" dt="2023-06-14T00:54:50.751" v="2595" actId="20577"/>
          <ac:spMkLst>
            <pc:docMk/>
            <pc:sldMk cId="3921475878" sldId="704"/>
            <ac:spMk id="9" creationId="{A98C23DB-130E-908F-3881-E3A6D02EA1B8}"/>
          </ac:spMkLst>
        </pc:spChg>
        <pc:graphicFrameChg chg="add mod ord modVis replST">
          <ac:chgData name="Alexandre" userId="b4fbace6-72ad-4592-b27d-535191bf0bec" providerId="ADAL" clId="{43491469-63E5-4AF4-A451-2151A57B2BCA}" dt="2023-06-14T00:50:40.687" v="2460"/>
          <ac:graphicFrameMkLst>
            <pc:docMk/>
            <pc:sldMk cId="3921475878" sldId="704"/>
            <ac:graphicFrameMk id="17" creationId="{38629F86-F4AD-E923-8C6D-D026CCC84BBA}"/>
          </ac:graphicFrameMkLst>
        </pc:graphicFrameChg>
      </pc:sldChg>
      <pc:sldChg chg="modSp mod">
        <pc:chgData name="Alexandre" userId="b4fbace6-72ad-4592-b27d-535191bf0bec" providerId="ADAL" clId="{43491469-63E5-4AF4-A451-2151A57B2BCA}" dt="2023-06-13T23:04:45.099" v="666" actId="20577"/>
        <pc:sldMkLst>
          <pc:docMk/>
          <pc:sldMk cId="154362926" sldId="709"/>
        </pc:sldMkLst>
        <pc:spChg chg="mod">
          <ac:chgData name="Alexandre" userId="b4fbace6-72ad-4592-b27d-535191bf0bec" providerId="ADAL" clId="{43491469-63E5-4AF4-A451-2151A57B2BCA}" dt="2023-06-13T23:04:45.099" v="666" actId="20577"/>
          <ac:spMkLst>
            <pc:docMk/>
            <pc:sldMk cId="154362926" sldId="709"/>
            <ac:spMk id="3" creationId="{90ED709F-ACAD-B1F7-6A76-D3912B5BE3F8}"/>
          </ac:spMkLst>
        </pc:spChg>
      </pc:sldChg>
      <pc:sldChg chg="modSp mod">
        <pc:chgData name="Alexandre" userId="b4fbace6-72ad-4592-b27d-535191bf0bec" providerId="ADAL" clId="{43491469-63E5-4AF4-A451-2151A57B2BCA}" dt="2023-06-13T23:37:05.332" v="1527" actId="20577"/>
        <pc:sldMkLst>
          <pc:docMk/>
          <pc:sldMk cId="3628235120" sldId="710"/>
        </pc:sldMkLst>
        <pc:spChg chg="mod">
          <ac:chgData name="Alexandre" userId="b4fbace6-72ad-4592-b27d-535191bf0bec" providerId="ADAL" clId="{43491469-63E5-4AF4-A451-2151A57B2BCA}" dt="2023-06-13T23:37:05.332" v="1527" actId="20577"/>
          <ac:spMkLst>
            <pc:docMk/>
            <pc:sldMk cId="3628235120" sldId="710"/>
            <ac:spMk id="7" creationId="{0571E61B-C0EC-2A06-6B36-E772DC6F05C4}"/>
          </ac:spMkLst>
        </pc:spChg>
      </pc:sldChg>
      <pc:sldChg chg="addSp modSp mod">
        <pc:chgData name="Alexandre" userId="b4fbace6-72ad-4592-b27d-535191bf0bec" providerId="ADAL" clId="{43491469-63E5-4AF4-A451-2151A57B2BCA}" dt="2023-06-13T23:27:46.922" v="1232"/>
        <pc:sldMkLst>
          <pc:docMk/>
          <pc:sldMk cId="2567454170" sldId="711"/>
        </pc:sldMkLst>
        <pc:spChg chg="mod">
          <ac:chgData name="Alexandre" userId="b4fbace6-72ad-4592-b27d-535191bf0bec" providerId="ADAL" clId="{43491469-63E5-4AF4-A451-2151A57B2BCA}" dt="2023-06-13T23:27:46.886" v="1215" actId="948"/>
          <ac:spMkLst>
            <pc:docMk/>
            <pc:sldMk cId="2567454170" sldId="711"/>
            <ac:spMk id="2" creationId="{D700327C-ACB4-4F2C-1785-B1478A953EF1}"/>
          </ac:spMkLst>
        </pc:spChg>
        <pc:graphicFrameChg chg="add mod ord modVis replST">
          <ac:chgData name="Alexandre" userId="b4fbace6-72ad-4592-b27d-535191bf0bec" providerId="ADAL" clId="{43491469-63E5-4AF4-A451-2151A57B2BCA}" dt="2023-06-13T23:27:46.922" v="1232"/>
          <ac:graphicFrameMkLst>
            <pc:docMk/>
            <pc:sldMk cId="2567454170" sldId="711"/>
            <ac:graphicFrameMk id="7" creationId="{D15D7E01-76C6-2127-EDF5-06760B9DCF4F}"/>
          </ac:graphicFrameMkLst>
        </pc:graphicFrameChg>
      </pc:sldChg>
      <pc:sldChg chg="addSp modSp mod">
        <pc:chgData name="Alexandre" userId="b4fbace6-72ad-4592-b27d-535191bf0bec" providerId="ADAL" clId="{43491469-63E5-4AF4-A451-2151A57B2BCA}" dt="2023-06-13T23:27:41.551" v="1212"/>
        <pc:sldMkLst>
          <pc:docMk/>
          <pc:sldMk cId="3225642274" sldId="712"/>
        </pc:sldMkLst>
        <pc:spChg chg="mod">
          <ac:chgData name="Alexandre" userId="b4fbace6-72ad-4592-b27d-535191bf0bec" providerId="ADAL" clId="{43491469-63E5-4AF4-A451-2151A57B2BCA}" dt="2023-06-13T23:27:41.521" v="1195" actId="948"/>
          <ac:spMkLst>
            <pc:docMk/>
            <pc:sldMk cId="3225642274" sldId="712"/>
            <ac:spMk id="2" creationId="{77BA5287-0C75-C217-41D5-E5FF8308C579}"/>
          </ac:spMkLst>
        </pc:spChg>
        <pc:graphicFrameChg chg="add mod ord modVis replST">
          <ac:chgData name="Alexandre" userId="b4fbace6-72ad-4592-b27d-535191bf0bec" providerId="ADAL" clId="{43491469-63E5-4AF4-A451-2151A57B2BCA}" dt="2023-06-13T23:27:41.551" v="1212"/>
          <ac:graphicFrameMkLst>
            <pc:docMk/>
            <pc:sldMk cId="3225642274" sldId="712"/>
            <ac:graphicFrameMk id="7" creationId="{0D653B12-A218-17FD-229B-123F40D38675}"/>
          </ac:graphicFrameMkLst>
        </pc:graphicFrameChg>
      </pc:sldChg>
      <pc:sldChg chg="addSp modSp mod">
        <pc:chgData name="Alexandre" userId="b4fbace6-72ad-4592-b27d-535191bf0bec" providerId="ADAL" clId="{43491469-63E5-4AF4-A451-2151A57B2BCA}" dt="2023-06-13T23:49:23.135" v="1563" actId="1076"/>
        <pc:sldMkLst>
          <pc:docMk/>
          <pc:sldMk cId="3453779615" sldId="714"/>
        </pc:sldMkLst>
        <pc:spChg chg="mod">
          <ac:chgData name="Alexandre" userId="b4fbace6-72ad-4592-b27d-535191bf0bec" providerId="ADAL" clId="{43491469-63E5-4AF4-A451-2151A57B2BCA}" dt="2023-06-13T23:28:02.721" v="1235" actId="948"/>
          <ac:spMkLst>
            <pc:docMk/>
            <pc:sldMk cId="3453779615" sldId="714"/>
            <ac:spMk id="2" creationId="{32A92DB8-5530-5193-7884-E06332096CE9}"/>
          </ac:spMkLst>
        </pc:spChg>
        <pc:spChg chg="add mod">
          <ac:chgData name="Alexandre" userId="b4fbace6-72ad-4592-b27d-535191bf0bec" providerId="ADAL" clId="{43491469-63E5-4AF4-A451-2151A57B2BCA}" dt="2023-06-13T23:48:50.059" v="1559" actId="1076"/>
          <ac:spMkLst>
            <pc:docMk/>
            <pc:sldMk cId="3453779615" sldId="714"/>
            <ac:spMk id="3" creationId="{0FC29AB3-4854-217F-58EE-5BDDFEE77226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23" creationId="{A0E59ADA-822B-B4ED-44DE-97DDC224A772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32" creationId="{2C546F5C-434E-1254-D118-4D396BCD6813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33" creationId="{09504664-D7E0-A01B-309E-185997AAC024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43" creationId="{D169B8D2-F061-CB56-F079-043937FE57B6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44" creationId="{869805EB-FD1D-2A26-F45A-2019B89A416C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53" creationId="{1CCD89DC-B87C-DC0E-C44C-92F10355C210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54" creationId="{3D0FF543-B490-C729-4DDF-691143FA2A15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55" creationId="{3BC0D2E1-994C-A2B3-0FAD-7899BAB8FDFB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57" creationId="{1D7AC13D-055F-0C02-971C-793BCA5CE832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58" creationId="{A703550A-B774-C89B-BFA5-60DC52EA5C5C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59" creationId="{F595714B-572B-C0A9-64EB-3C7622CD9C99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60" creationId="{299E4834-BA6F-8F50-C3B8-237D8C76D643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61" creationId="{306EE4C0-B76E-7042-F39E-47B462BB9A30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75" creationId="{DE96ECB6-7677-3DBD-DDAD-BF71E259136D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83" creationId="{A2A438CD-B0A2-E39D-5D75-366C9A7A4D8F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84" creationId="{354ECDC4-7084-677A-182E-77DE75420E9F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85" creationId="{3A69438F-4A2B-C6F3-0D77-A0B4B6E75620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100" creationId="{56F72ED1-3030-A420-3564-97BA29FB7978}"/>
          </ac:spMkLst>
        </pc:spChg>
        <pc:spChg chg="mod">
          <ac:chgData name="Alexandre" userId="b4fbace6-72ad-4592-b27d-535191bf0bec" providerId="ADAL" clId="{43491469-63E5-4AF4-A451-2151A57B2BCA}" dt="2023-06-13T23:49:18.110" v="1562" actId="1076"/>
          <ac:spMkLst>
            <pc:docMk/>
            <pc:sldMk cId="3453779615" sldId="714"/>
            <ac:spMk id="101" creationId="{BD955F50-9B68-3685-EC33-75771B01BE01}"/>
          </ac:spMkLst>
        </pc:spChg>
        <pc:spChg chg="mod">
          <ac:chgData name="Alexandre" userId="b4fbace6-72ad-4592-b27d-535191bf0bec" providerId="ADAL" clId="{43491469-63E5-4AF4-A451-2151A57B2BCA}" dt="2023-06-13T23:49:23.135" v="1563" actId="1076"/>
          <ac:spMkLst>
            <pc:docMk/>
            <pc:sldMk cId="3453779615" sldId="714"/>
            <ac:spMk id="102" creationId="{31BE79E4-88F6-5FCE-36D2-FBF3E5DAFEE1}"/>
          </ac:spMkLst>
        </pc:spChg>
        <pc:grpChg chg="mod">
          <ac:chgData name="Alexandre" userId="b4fbace6-72ad-4592-b27d-535191bf0bec" providerId="ADAL" clId="{43491469-63E5-4AF4-A451-2151A57B2BCA}" dt="2023-06-13T23:49:18.110" v="1562" actId="1076"/>
          <ac:grpSpMkLst>
            <pc:docMk/>
            <pc:sldMk cId="3453779615" sldId="714"/>
            <ac:grpSpMk id="13" creationId="{B9FC4FEA-EE4B-AFF6-7A13-B25F016CDE73}"/>
          </ac:grpSpMkLst>
        </pc:grpChg>
        <pc:grpChg chg="mod">
          <ac:chgData name="Alexandre" userId="b4fbace6-72ad-4592-b27d-535191bf0bec" providerId="ADAL" clId="{43491469-63E5-4AF4-A451-2151A57B2BCA}" dt="2023-06-13T23:49:18.110" v="1562" actId="1076"/>
          <ac:grpSpMkLst>
            <pc:docMk/>
            <pc:sldMk cId="3453779615" sldId="714"/>
            <ac:grpSpMk id="36" creationId="{0C144464-3FE9-CDF0-9764-EA311B59BF80}"/>
          </ac:grpSpMkLst>
        </pc:grpChg>
        <pc:graphicFrameChg chg="mod">
          <ac:chgData name="Alexandre" userId="b4fbace6-72ad-4592-b27d-535191bf0bec" providerId="ADAL" clId="{43491469-63E5-4AF4-A451-2151A57B2BCA}" dt="2023-06-13T23:28:02.738" v="1239"/>
          <ac:graphicFrameMkLst>
            <pc:docMk/>
            <pc:sldMk cId="3453779615" sldId="714"/>
            <ac:graphicFrameMk id="56" creationId="{094D538D-E6F7-EDDD-12FA-313A6DF8ED2A}"/>
          </ac:graphicFrameMkLst>
        </pc:graphicFrame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47" creationId="{A8113CA8-5FAE-A400-D9AB-50926C470BD8}"/>
          </ac:cxnSpMkLst>
        </pc:cxn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48" creationId="{5948DC98-514C-C80C-354C-0B4A5D7D557A}"/>
          </ac:cxnSpMkLst>
        </pc:cxn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63" creationId="{AA649928-50FB-FD35-8D28-AE1ECEE1A9C9}"/>
          </ac:cxnSpMkLst>
        </pc:cxn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64" creationId="{11CF4B2D-6D85-D8A5-8B85-1A2D83717CDD}"/>
          </ac:cxnSpMkLst>
        </pc:cxn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66" creationId="{0D805D66-B37C-DB6F-AF4D-3D2E007929DD}"/>
          </ac:cxnSpMkLst>
        </pc:cxn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69" creationId="{708D98B0-9C8F-556C-473A-30BEC723CFF9}"/>
          </ac:cxnSpMkLst>
        </pc:cxn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71" creationId="{706F0223-96EB-88D1-7C50-45BCF3C4E984}"/>
          </ac:cxnSpMkLst>
        </pc:cxn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86" creationId="{BD15191A-CB01-1932-2357-67CBE94D1B77}"/>
          </ac:cxnSpMkLst>
        </pc:cxn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88" creationId="{94E4AD31-8542-A6F6-1748-C010727F0F18}"/>
          </ac:cxnSpMkLst>
        </pc:cxn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92" creationId="{67AAA396-9842-1431-2E47-6A8B5175D784}"/>
          </ac:cxnSpMkLst>
        </pc:cxnChg>
        <pc:cxnChg chg="mod">
          <ac:chgData name="Alexandre" userId="b4fbace6-72ad-4592-b27d-535191bf0bec" providerId="ADAL" clId="{43491469-63E5-4AF4-A451-2151A57B2BCA}" dt="2023-06-13T23:49:18.110" v="1562" actId="1076"/>
          <ac:cxnSpMkLst>
            <pc:docMk/>
            <pc:sldMk cId="3453779615" sldId="714"/>
            <ac:cxnSpMk id="96" creationId="{6D8DD978-59A9-777B-F9E1-A173AE55A0FA}"/>
          </ac:cxnSpMkLst>
        </pc:cxnChg>
      </pc:sldChg>
      <pc:sldChg chg="addSp delSp modSp add mod delAnim">
        <pc:chgData name="Alexandre" userId="b4fbace6-72ad-4592-b27d-535191bf0bec" providerId="ADAL" clId="{43491469-63E5-4AF4-A451-2151A57B2BCA}" dt="2023-06-13T23:28:46.406" v="1241" actId="1076"/>
        <pc:sldMkLst>
          <pc:docMk/>
          <pc:sldMk cId="4203255045" sldId="718"/>
        </pc:sldMkLst>
        <pc:spChg chg="mod">
          <ac:chgData name="Alexandre" userId="b4fbace6-72ad-4592-b27d-535191bf0bec" providerId="ADAL" clId="{43491469-63E5-4AF4-A451-2151A57B2BCA}" dt="2023-06-13T23:19:48.851" v="952" actId="1076"/>
          <ac:spMkLst>
            <pc:docMk/>
            <pc:sldMk cId="4203255045" sldId="718"/>
            <ac:spMk id="7" creationId="{EE271423-2E6F-36F7-EB41-2FC819A8D899}"/>
          </ac:spMkLst>
        </pc:spChg>
        <pc:spChg chg="add mod">
          <ac:chgData name="Alexandre" userId="b4fbace6-72ad-4592-b27d-535191bf0bec" providerId="ADAL" clId="{43491469-63E5-4AF4-A451-2151A57B2BCA}" dt="2023-06-13T23:25:41.622" v="1100" actId="1076"/>
          <ac:spMkLst>
            <pc:docMk/>
            <pc:sldMk cId="4203255045" sldId="718"/>
            <ac:spMk id="10" creationId="{C5D90285-68F7-E048-6DA2-8B57292BBA9E}"/>
          </ac:spMkLst>
        </pc:spChg>
        <pc:spChg chg="mod">
          <ac:chgData name="Alexandre" userId="b4fbace6-72ad-4592-b27d-535191bf0bec" providerId="ADAL" clId="{43491469-63E5-4AF4-A451-2151A57B2BCA}" dt="2023-06-13T23:28:43.009" v="1240" actId="1076"/>
          <ac:spMkLst>
            <pc:docMk/>
            <pc:sldMk cId="4203255045" sldId="718"/>
            <ac:spMk id="22" creationId="{38752247-FBB5-E582-7E54-14912C60D8D5}"/>
          </ac:spMkLst>
        </pc:spChg>
        <pc:spChg chg="del">
          <ac:chgData name="Alexandre" userId="b4fbace6-72ad-4592-b27d-535191bf0bec" providerId="ADAL" clId="{43491469-63E5-4AF4-A451-2151A57B2BCA}" dt="2023-06-13T23:08:24.521" v="769" actId="478"/>
          <ac:spMkLst>
            <pc:docMk/>
            <pc:sldMk cId="4203255045" sldId="718"/>
            <ac:spMk id="29" creationId="{0170F7FA-FC53-C0BF-63B4-D95C73620F83}"/>
          </ac:spMkLst>
        </pc:spChg>
        <pc:grpChg chg="mod">
          <ac:chgData name="Alexandre" userId="b4fbace6-72ad-4592-b27d-535191bf0bec" providerId="ADAL" clId="{43491469-63E5-4AF4-A451-2151A57B2BCA}" dt="2023-06-13T23:28:46.406" v="1241" actId="1076"/>
          <ac:grpSpMkLst>
            <pc:docMk/>
            <pc:sldMk cId="4203255045" sldId="718"/>
            <ac:grpSpMk id="21" creationId="{5506EA56-0E32-B54D-99E8-C65FDD3D33C7}"/>
          </ac:grpSpMkLst>
        </pc:grpChg>
        <pc:graphicFrameChg chg="add mod modGraphic">
          <ac:chgData name="Alexandre" userId="b4fbace6-72ad-4592-b27d-535191bf0bec" providerId="ADAL" clId="{43491469-63E5-4AF4-A451-2151A57B2BCA}" dt="2023-06-13T23:24:52.412" v="1059" actId="20577"/>
          <ac:graphicFrameMkLst>
            <pc:docMk/>
            <pc:sldMk cId="4203255045" sldId="718"/>
            <ac:graphicFrameMk id="3" creationId="{F4242307-8DB7-AF63-6B92-9E53FAB97387}"/>
          </ac:graphicFrameMkLst>
        </pc:graphicFrameChg>
      </pc:sldChg>
      <pc:sldChg chg="addSp delSp modSp add mod modTransition modShow modNotesTx">
        <pc:chgData name="Alexandre" userId="b4fbace6-72ad-4592-b27d-535191bf0bec" providerId="ADAL" clId="{43491469-63E5-4AF4-A451-2151A57B2BCA}" dt="2023-06-14T00:47:55.840" v="2399" actId="1076"/>
        <pc:sldMkLst>
          <pc:docMk/>
          <pc:sldMk cId="1703764126" sldId="719"/>
        </pc:sldMkLst>
        <pc:spChg chg="mod ord">
          <ac:chgData name="Alexandre" userId="b4fbace6-72ad-4592-b27d-535191bf0bec" providerId="ADAL" clId="{43491469-63E5-4AF4-A451-2151A57B2BCA}" dt="2023-06-14T00:01:21.150" v="1837"/>
          <ac:spMkLst>
            <pc:docMk/>
            <pc:sldMk cId="1703764126" sldId="719"/>
            <ac:spMk id="2" creationId="{46E6141E-53A8-BCAC-C1F8-966D5A59C470}"/>
          </ac:spMkLst>
        </pc:spChg>
        <pc:spChg chg="mod ord">
          <ac:chgData name="Alexandre" userId="b4fbace6-72ad-4592-b27d-535191bf0bec" providerId="ADAL" clId="{43491469-63E5-4AF4-A451-2151A57B2BCA}" dt="2023-06-14T00:01:21.166" v="1841"/>
          <ac:spMkLst>
            <pc:docMk/>
            <pc:sldMk cId="1703764126" sldId="719"/>
            <ac:spMk id="4" creationId="{3C584B1A-05A8-3444-0D3D-5D5AE679BD90}"/>
          </ac:spMkLst>
        </pc:spChg>
        <pc:spChg chg="mod ord">
          <ac:chgData name="Alexandre" userId="b4fbace6-72ad-4592-b27d-535191bf0bec" providerId="ADAL" clId="{43491469-63E5-4AF4-A451-2151A57B2BCA}" dt="2023-06-14T00:01:21.166" v="1843"/>
          <ac:spMkLst>
            <pc:docMk/>
            <pc:sldMk cId="1703764126" sldId="719"/>
            <ac:spMk id="5" creationId="{B2242351-C0E5-5770-85AC-C3AF359BEDD0}"/>
          </ac:spMkLst>
        </pc:spChg>
        <pc:spChg chg="mod ord">
          <ac:chgData name="Alexandre" userId="b4fbace6-72ad-4592-b27d-535191bf0bec" providerId="ADAL" clId="{43491469-63E5-4AF4-A451-2151A57B2BCA}" dt="2023-06-14T00:01:21.166" v="1845"/>
          <ac:spMkLst>
            <pc:docMk/>
            <pc:sldMk cId="1703764126" sldId="719"/>
            <ac:spMk id="6" creationId="{0195669E-8F9E-25CB-B87A-16D9530970A5}"/>
          </ac:spMkLst>
        </pc:spChg>
        <pc:spChg chg="del">
          <ac:chgData name="Alexandre" userId="b4fbace6-72ad-4592-b27d-535191bf0bec" providerId="ADAL" clId="{43491469-63E5-4AF4-A451-2151A57B2BCA}" dt="2023-06-13T23:50:31.458" v="1574" actId="478"/>
          <ac:spMkLst>
            <pc:docMk/>
            <pc:sldMk cId="1703764126" sldId="719"/>
            <ac:spMk id="9" creationId="{A096F1DD-C259-2BAA-B693-923E540F0E3A}"/>
          </ac:spMkLst>
        </pc:spChg>
        <pc:spChg chg="add mod ord">
          <ac:chgData name="Alexandre" userId="b4fbace6-72ad-4592-b27d-535191bf0bec" providerId="ADAL" clId="{43491469-63E5-4AF4-A451-2151A57B2BCA}" dt="2023-06-14T00:47:55.840" v="2399" actId="1076"/>
          <ac:spMkLst>
            <pc:docMk/>
            <pc:sldMk cId="1703764126" sldId="719"/>
            <ac:spMk id="21" creationId="{CA713E55-7DBF-25B2-868C-65F57CDC091B}"/>
          </ac:spMkLst>
        </pc:spChg>
        <pc:spChg chg="add mod">
          <ac:chgData name="Alexandre" userId="b4fbace6-72ad-4592-b27d-535191bf0bec" providerId="ADAL" clId="{43491469-63E5-4AF4-A451-2151A57B2BCA}" dt="2023-06-14T00:47:55.840" v="2399" actId="1076"/>
          <ac:spMkLst>
            <pc:docMk/>
            <pc:sldMk cId="1703764126" sldId="719"/>
            <ac:spMk id="22" creationId="{3BC4D322-8DF6-F5B2-60DA-287679A6CB9A}"/>
          </ac:spMkLst>
        </pc:spChg>
        <pc:spChg chg="add mod">
          <ac:chgData name="Alexandre" userId="b4fbace6-72ad-4592-b27d-535191bf0bec" providerId="ADAL" clId="{43491469-63E5-4AF4-A451-2151A57B2BCA}" dt="2023-06-14T00:47:55.840" v="2399" actId="1076"/>
          <ac:spMkLst>
            <pc:docMk/>
            <pc:sldMk cId="1703764126" sldId="719"/>
            <ac:spMk id="23" creationId="{BCB70367-AFBF-FBE6-926E-18A647C2AF1A}"/>
          </ac:spMkLst>
        </pc:spChg>
        <pc:grpChg chg="add mod ord">
          <ac:chgData name="Alexandre" userId="b4fbace6-72ad-4592-b27d-535191bf0bec" providerId="ADAL" clId="{43491469-63E5-4AF4-A451-2151A57B2BCA}" dt="2023-06-14T00:47:55.840" v="2399" actId="1076"/>
          <ac:grpSpMkLst>
            <pc:docMk/>
            <pc:sldMk cId="1703764126" sldId="719"/>
            <ac:grpSpMk id="20" creationId="{2802CE08-C1F0-F9B5-5BEA-2D99B38A881B}"/>
          </ac:grpSpMkLst>
        </pc:grpChg>
        <pc:graphicFrameChg chg="mod ord modGraphic">
          <ac:chgData name="Alexandre" userId="b4fbace6-72ad-4592-b27d-535191bf0bec" providerId="ADAL" clId="{43491469-63E5-4AF4-A451-2151A57B2BCA}" dt="2023-06-14T00:47:42.329" v="2398" actId="14734"/>
          <ac:graphicFrameMkLst>
            <pc:docMk/>
            <pc:sldMk cId="1703764126" sldId="719"/>
            <ac:graphicFrameMk id="7" creationId="{353174E6-6237-DB4C-68B7-CB6EF2544F87}"/>
          </ac:graphicFrameMkLst>
        </pc:graphicFrameChg>
        <pc:graphicFrameChg chg="mod">
          <ac:chgData name="Alexandre" userId="b4fbace6-72ad-4592-b27d-535191bf0bec" providerId="ADAL" clId="{43491469-63E5-4AF4-A451-2151A57B2BCA}" dt="2023-06-14T00:01:21.166" v="1851"/>
          <ac:graphicFrameMkLst>
            <pc:docMk/>
            <pc:sldMk cId="1703764126" sldId="719"/>
            <ac:graphicFrameMk id="8" creationId="{C6A4772D-D5C5-10AA-0A89-112F4994572A}"/>
          </ac:graphicFrameMkLst>
        </pc:graphicFrameChg>
        <pc:cxnChg chg="add del mod">
          <ac:chgData name="Alexandre" userId="b4fbace6-72ad-4592-b27d-535191bf0bec" providerId="ADAL" clId="{43491469-63E5-4AF4-A451-2151A57B2BCA}" dt="2023-06-13T23:56:27.692" v="1707" actId="478"/>
          <ac:cxnSpMkLst>
            <pc:docMk/>
            <pc:sldMk cId="1703764126" sldId="719"/>
            <ac:cxnSpMk id="10" creationId="{75F6C0E3-603C-8514-DF1A-84ADF571A880}"/>
          </ac:cxnSpMkLst>
        </pc:cxnChg>
        <pc:cxnChg chg="add del mod">
          <ac:chgData name="Alexandre" userId="b4fbace6-72ad-4592-b27d-535191bf0bec" providerId="ADAL" clId="{43491469-63E5-4AF4-A451-2151A57B2BCA}" dt="2023-06-13T23:56:26.303" v="1706" actId="478"/>
          <ac:cxnSpMkLst>
            <pc:docMk/>
            <pc:sldMk cId="1703764126" sldId="719"/>
            <ac:cxnSpMk id="11" creationId="{5DF0E8D5-A56E-9304-013B-26882C50E9DB}"/>
          </ac:cxnSpMkLst>
        </pc:cxnChg>
        <pc:cxnChg chg="add mod">
          <ac:chgData name="Alexandre" userId="b4fbace6-72ad-4592-b27d-535191bf0bec" providerId="ADAL" clId="{43491469-63E5-4AF4-A451-2151A57B2BCA}" dt="2023-06-13T23:58:45.141" v="1727" actId="1076"/>
          <ac:cxnSpMkLst>
            <pc:docMk/>
            <pc:sldMk cId="1703764126" sldId="719"/>
            <ac:cxnSpMk id="17" creationId="{60D22441-BC78-BFEF-2639-2390994F312A}"/>
          </ac:cxnSpMkLst>
        </pc:cxnChg>
        <pc:cxnChg chg="add mod">
          <ac:chgData name="Alexandre" userId="b4fbace6-72ad-4592-b27d-535191bf0bec" providerId="ADAL" clId="{43491469-63E5-4AF4-A451-2151A57B2BCA}" dt="2023-06-13T23:58:41.475" v="1725" actId="692"/>
          <ac:cxnSpMkLst>
            <pc:docMk/>
            <pc:sldMk cId="1703764126" sldId="719"/>
            <ac:cxnSpMk id="19" creationId="{18DC692A-42F3-D18D-128F-9D62900CD996}"/>
          </ac:cxnSpMkLst>
        </pc:cxnChg>
      </pc:sldChg>
      <pc:sldChg chg="add del">
        <pc:chgData name="Alexandre" userId="b4fbace6-72ad-4592-b27d-535191bf0bec" providerId="ADAL" clId="{43491469-63E5-4AF4-A451-2151A57B2BCA}" dt="2023-06-13T23:49:54.350" v="1566" actId="47"/>
        <pc:sldMkLst>
          <pc:docMk/>
          <pc:sldMk cId="3838140599" sldId="719"/>
        </pc:sldMkLst>
      </pc:sldChg>
      <pc:sldChg chg="addSp delSp modSp add mod modAnim modNotesTx">
        <pc:chgData name="Alexandre" userId="b4fbace6-72ad-4592-b27d-535191bf0bec" providerId="ADAL" clId="{43491469-63E5-4AF4-A451-2151A57B2BCA}" dt="2023-06-14T01:15:39.018" v="3174" actId="20577"/>
        <pc:sldMkLst>
          <pc:docMk/>
          <pc:sldMk cId="2063095769" sldId="720"/>
        </pc:sldMkLst>
        <pc:spChg chg="mod">
          <ac:chgData name="Alexandre" userId="b4fbace6-72ad-4592-b27d-535191bf0bec" providerId="ADAL" clId="{43491469-63E5-4AF4-A451-2151A57B2BCA}" dt="2023-06-14T00:50:33.981" v="2423" actId="948"/>
          <ac:spMkLst>
            <pc:docMk/>
            <pc:sldMk cId="2063095769" sldId="720"/>
            <ac:spMk id="2" creationId="{F6BC011C-B5B2-7D6E-6BA4-774C57C13EB5}"/>
          </ac:spMkLst>
        </pc:spChg>
        <pc:spChg chg="mod">
          <ac:chgData name="Alexandre" userId="b4fbace6-72ad-4592-b27d-535191bf0bec" providerId="ADAL" clId="{43491469-63E5-4AF4-A451-2151A57B2BCA}" dt="2023-06-14T01:06:05.985" v="2799" actId="27636"/>
          <ac:spMkLst>
            <pc:docMk/>
            <pc:sldMk cId="2063095769" sldId="720"/>
            <ac:spMk id="3" creationId="{927FA977-8671-3A62-1A67-E68F2D50F5FB}"/>
          </ac:spMkLst>
        </pc:spChg>
        <pc:spChg chg="del">
          <ac:chgData name="Alexandre" userId="b4fbace6-72ad-4592-b27d-535191bf0bec" providerId="ADAL" clId="{43491469-63E5-4AF4-A451-2151A57B2BCA}" dt="2023-06-14T01:04:39.939" v="2717" actId="478"/>
          <ac:spMkLst>
            <pc:docMk/>
            <pc:sldMk cId="2063095769" sldId="720"/>
            <ac:spMk id="8" creationId="{F9A3A31E-C627-93F1-832A-E4E04873D1CF}"/>
          </ac:spMkLst>
        </pc:spChg>
        <pc:spChg chg="del">
          <ac:chgData name="Alexandre" userId="b4fbace6-72ad-4592-b27d-535191bf0bec" providerId="ADAL" clId="{43491469-63E5-4AF4-A451-2151A57B2BCA}" dt="2023-06-14T01:04:34.713" v="2714" actId="478"/>
          <ac:spMkLst>
            <pc:docMk/>
            <pc:sldMk cId="2063095769" sldId="720"/>
            <ac:spMk id="9" creationId="{A98C23DB-130E-908F-3881-E3A6D02EA1B8}"/>
          </ac:spMkLst>
        </pc:spChg>
        <pc:spChg chg="add del mod">
          <ac:chgData name="Alexandre" userId="b4fbace6-72ad-4592-b27d-535191bf0bec" providerId="ADAL" clId="{43491469-63E5-4AF4-A451-2151A57B2BCA}" dt="2023-06-14T01:07:00.175" v="2805" actId="478"/>
          <ac:spMkLst>
            <pc:docMk/>
            <pc:sldMk cId="2063095769" sldId="720"/>
            <ac:spMk id="18" creationId="{61FB9DE5-C0C2-1A4C-5CEA-DEF3F9FDF67B}"/>
          </ac:spMkLst>
        </pc:spChg>
        <pc:spChg chg="mod">
          <ac:chgData name="Alexandre" userId="b4fbace6-72ad-4592-b27d-535191bf0bec" providerId="ADAL" clId="{43491469-63E5-4AF4-A451-2151A57B2BCA}" dt="2023-06-14T01:09:37.830" v="2985" actId="207"/>
          <ac:spMkLst>
            <pc:docMk/>
            <pc:sldMk cId="2063095769" sldId="720"/>
            <ac:spMk id="20" creationId="{39AD10C1-39D1-20BF-0611-F2903C55788B}"/>
          </ac:spMkLst>
        </pc:spChg>
        <pc:spChg chg="mod">
          <ac:chgData name="Alexandre" userId="b4fbace6-72ad-4592-b27d-535191bf0bec" providerId="ADAL" clId="{43491469-63E5-4AF4-A451-2151A57B2BCA}" dt="2023-06-14T01:09:37.830" v="2985" actId="207"/>
          <ac:spMkLst>
            <pc:docMk/>
            <pc:sldMk cId="2063095769" sldId="720"/>
            <ac:spMk id="21" creationId="{34A9F767-0059-119C-2B35-12F7BF27EDFD}"/>
          </ac:spMkLst>
        </pc:spChg>
        <pc:spChg chg="mod">
          <ac:chgData name="Alexandre" userId="b4fbace6-72ad-4592-b27d-535191bf0bec" providerId="ADAL" clId="{43491469-63E5-4AF4-A451-2151A57B2BCA}" dt="2023-06-14T01:09:37.830" v="2985" actId="207"/>
          <ac:spMkLst>
            <pc:docMk/>
            <pc:sldMk cId="2063095769" sldId="720"/>
            <ac:spMk id="22" creationId="{765B573B-DF6F-D58D-DE74-2BD57D5E466A}"/>
          </ac:spMkLst>
        </pc:spChg>
        <pc:spChg chg="add mod">
          <ac:chgData name="Alexandre" userId="b4fbace6-72ad-4592-b27d-535191bf0bec" providerId="ADAL" clId="{43491469-63E5-4AF4-A451-2151A57B2BCA}" dt="2023-06-14T01:10:53.998" v="3006" actId="164"/>
          <ac:spMkLst>
            <pc:docMk/>
            <pc:sldMk cId="2063095769" sldId="720"/>
            <ac:spMk id="23" creationId="{A5FD34A7-7A0B-DE26-225E-58B70B0BC3A9}"/>
          </ac:spMkLst>
        </pc:spChg>
        <pc:spChg chg="add del mod">
          <ac:chgData name="Alexandre" userId="b4fbace6-72ad-4592-b27d-535191bf0bec" providerId="ADAL" clId="{43491469-63E5-4AF4-A451-2151A57B2BCA}" dt="2023-06-14T01:10:16.281" v="2990" actId="478"/>
          <ac:spMkLst>
            <pc:docMk/>
            <pc:sldMk cId="2063095769" sldId="720"/>
            <ac:spMk id="24" creationId="{D52F8D67-8FEC-78DE-AC98-6111C30F0C03}"/>
          </ac:spMkLst>
        </pc:spChg>
        <pc:spChg chg="mod">
          <ac:chgData name="Alexandre" userId="b4fbace6-72ad-4592-b27d-535191bf0bec" providerId="ADAL" clId="{43491469-63E5-4AF4-A451-2151A57B2BCA}" dt="2023-06-14T01:11:34.116" v="3036" actId="207"/>
          <ac:spMkLst>
            <pc:docMk/>
            <pc:sldMk cId="2063095769" sldId="720"/>
            <ac:spMk id="27" creationId="{984BCD38-0C72-39FA-0F1A-2AFAA6670349}"/>
          </ac:spMkLst>
        </pc:spChg>
        <pc:spChg chg="mod">
          <ac:chgData name="Alexandre" userId="b4fbace6-72ad-4592-b27d-535191bf0bec" providerId="ADAL" clId="{43491469-63E5-4AF4-A451-2151A57B2BCA}" dt="2023-06-14T01:11:34.116" v="3036" actId="207"/>
          <ac:spMkLst>
            <pc:docMk/>
            <pc:sldMk cId="2063095769" sldId="720"/>
            <ac:spMk id="28" creationId="{E5E51821-CD26-A1A5-2EE4-212840535FC6}"/>
          </ac:spMkLst>
        </pc:spChg>
        <pc:spChg chg="mod">
          <ac:chgData name="Alexandre" userId="b4fbace6-72ad-4592-b27d-535191bf0bec" providerId="ADAL" clId="{43491469-63E5-4AF4-A451-2151A57B2BCA}" dt="2023-06-14T01:11:34.116" v="3036" actId="207"/>
          <ac:spMkLst>
            <pc:docMk/>
            <pc:sldMk cId="2063095769" sldId="720"/>
            <ac:spMk id="29" creationId="{B500B822-53C1-C2B4-1EE0-9646BB068F48}"/>
          </ac:spMkLst>
        </pc:spChg>
        <pc:spChg chg="mod">
          <ac:chgData name="Alexandre" userId="b4fbace6-72ad-4592-b27d-535191bf0bec" providerId="ADAL" clId="{43491469-63E5-4AF4-A451-2151A57B2BCA}" dt="2023-06-14T01:11:34.116" v="3036" actId="207"/>
          <ac:spMkLst>
            <pc:docMk/>
            <pc:sldMk cId="2063095769" sldId="720"/>
            <ac:spMk id="30" creationId="{C91A2697-E63F-2353-4A09-7A8DFE3D4503}"/>
          </ac:spMkLst>
        </pc:spChg>
        <pc:spChg chg="mod">
          <ac:chgData name="Alexandre" userId="b4fbace6-72ad-4592-b27d-535191bf0bec" providerId="ADAL" clId="{43491469-63E5-4AF4-A451-2151A57B2BCA}" dt="2023-06-14T01:11:34.116" v="3036" actId="207"/>
          <ac:spMkLst>
            <pc:docMk/>
            <pc:sldMk cId="2063095769" sldId="720"/>
            <ac:spMk id="31" creationId="{CFA8BDA3-3732-9735-7E1E-73A2775B4C4C}"/>
          </ac:spMkLst>
        </pc:spChg>
        <pc:spChg chg="add mod">
          <ac:chgData name="Alexandre" userId="b4fbace6-72ad-4592-b27d-535191bf0bec" providerId="ADAL" clId="{43491469-63E5-4AF4-A451-2151A57B2BCA}" dt="2023-06-14T01:14:20.015" v="3121" actId="1076"/>
          <ac:spMkLst>
            <pc:docMk/>
            <pc:sldMk cId="2063095769" sldId="720"/>
            <ac:spMk id="32" creationId="{84A0CC83-6C4C-8AFF-9132-679CC01D6B08}"/>
          </ac:spMkLst>
        </pc:spChg>
        <pc:spChg chg="add mod">
          <ac:chgData name="Alexandre" userId="b4fbace6-72ad-4592-b27d-535191bf0bec" providerId="ADAL" clId="{43491469-63E5-4AF4-A451-2151A57B2BCA}" dt="2023-06-14T01:12:14.823" v="3047" actId="1076"/>
          <ac:spMkLst>
            <pc:docMk/>
            <pc:sldMk cId="2063095769" sldId="720"/>
            <ac:spMk id="33" creationId="{02351DC4-26E9-7E79-CAEE-DBFC4AD5DAE2}"/>
          </ac:spMkLst>
        </pc:spChg>
        <pc:spChg chg="add mod">
          <ac:chgData name="Alexandre" userId="b4fbace6-72ad-4592-b27d-535191bf0bec" providerId="ADAL" clId="{43491469-63E5-4AF4-A451-2151A57B2BCA}" dt="2023-06-14T01:14:00.678" v="3116" actId="20577"/>
          <ac:spMkLst>
            <pc:docMk/>
            <pc:sldMk cId="2063095769" sldId="720"/>
            <ac:spMk id="34" creationId="{59A66B21-9A27-EB25-9375-C4DC813D4060}"/>
          </ac:spMkLst>
        </pc:spChg>
        <pc:spChg chg="add mod">
          <ac:chgData name="Alexandre" userId="b4fbace6-72ad-4592-b27d-535191bf0bec" providerId="ADAL" clId="{43491469-63E5-4AF4-A451-2151A57B2BCA}" dt="2023-06-14T01:15:39.018" v="3174" actId="20577"/>
          <ac:spMkLst>
            <pc:docMk/>
            <pc:sldMk cId="2063095769" sldId="720"/>
            <ac:spMk id="35" creationId="{F3272FA9-122E-3795-4FF4-85D0C1C31336}"/>
          </ac:spMkLst>
        </pc:spChg>
        <pc:grpChg chg="del">
          <ac:chgData name="Alexandre" userId="b4fbace6-72ad-4592-b27d-535191bf0bec" providerId="ADAL" clId="{43491469-63E5-4AF4-A451-2151A57B2BCA}" dt="2023-06-14T01:04:37.937" v="2716" actId="478"/>
          <ac:grpSpMkLst>
            <pc:docMk/>
            <pc:sldMk cId="2063095769" sldId="720"/>
            <ac:grpSpMk id="10" creationId="{79867B57-42E7-8AE8-229B-663B963E40F0}"/>
          </ac:grpSpMkLst>
        </pc:grpChg>
        <pc:grpChg chg="del">
          <ac:chgData name="Alexandre" userId="b4fbace6-72ad-4592-b27d-535191bf0bec" providerId="ADAL" clId="{43491469-63E5-4AF4-A451-2151A57B2BCA}" dt="2023-06-14T01:04:36.744" v="2715" actId="478"/>
          <ac:grpSpMkLst>
            <pc:docMk/>
            <pc:sldMk cId="2063095769" sldId="720"/>
            <ac:grpSpMk id="13" creationId="{91DF30F0-DDBA-8E1F-8872-B2DCF3C5D364}"/>
          </ac:grpSpMkLst>
        </pc:grpChg>
        <pc:grpChg chg="add mod">
          <ac:chgData name="Alexandre" userId="b4fbace6-72ad-4592-b27d-535191bf0bec" providerId="ADAL" clId="{43491469-63E5-4AF4-A451-2151A57B2BCA}" dt="2023-06-14T01:10:53.998" v="3006" actId="164"/>
          <ac:grpSpMkLst>
            <pc:docMk/>
            <pc:sldMk cId="2063095769" sldId="720"/>
            <ac:grpSpMk id="19" creationId="{647B8D0F-7EB1-731F-CA37-E0334217EADA}"/>
          </ac:grpSpMkLst>
        </pc:grpChg>
        <pc:grpChg chg="add mod">
          <ac:chgData name="Alexandre" userId="b4fbace6-72ad-4592-b27d-535191bf0bec" providerId="ADAL" clId="{43491469-63E5-4AF4-A451-2151A57B2BCA}" dt="2023-06-14T01:11:00.758" v="3007" actId="1076"/>
          <ac:grpSpMkLst>
            <pc:docMk/>
            <pc:sldMk cId="2063095769" sldId="720"/>
            <ac:grpSpMk id="25" creationId="{0D691794-A0A8-F3B1-861B-4D4E0F73A68C}"/>
          </ac:grpSpMkLst>
        </pc:grpChg>
        <pc:grpChg chg="add mod">
          <ac:chgData name="Alexandre" userId="b4fbace6-72ad-4592-b27d-535191bf0bec" providerId="ADAL" clId="{43491469-63E5-4AF4-A451-2151A57B2BCA}" dt="2023-06-14T01:12:45.708" v="3051" actId="1076"/>
          <ac:grpSpMkLst>
            <pc:docMk/>
            <pc:sldMk cId="2063095769" sldId="720"/>
            <ac:grpSpMk id="26" creationId="{18BA803A-447E-0735-C92D-98D27C473A36}"/>
          </ac:grpSpMkLst>
        </pc:grpChg>
        <pc:graphicFrameChg chg="add mod ord modVis replST">
          <ac:chgData name="Alexandre" userId="b4fbace6-72ad-4592-b27d-535191bf0bec" providerId="ADAL" clId="{43491469-63E5-4AF4-A451-2151A57B2BCA}" dt="2023-06-14T00:50:34.018" v="2440"/>
          <ac:graphicFrameMkLst>
            <pc:docMk/>
            <pc:sldMk cId="2063095769" sldId="720"/>
            <ac:graphicFrameMk id="17" creationId="{7A623C60-8533-63B3-D797-1270886DC363}"/>
          </ac:graphicFrameMkLst>
        </pc:graphicFrameChg>
      </pc:sldChg>
      <pc:sldChg chg="addSp modSp add mod modTransition modShow">
        <pc:chgData name="Alexandre" userId="b4fbace6-72ad-4592-b27d-535191bf0bec" providerId="ADAL" clId="{43491469-63E5-4AF4-A451-2151A57B2BCA}" dt="2023-06-14T01:16:22.143" v="3176"/>
        <pc:sldMkLst>
          <pc:docMk/>
          <pc:sldMk cId="851057352" sldId="721"/>
        </pc:sldMkLst>
        <pc:spChg chg="mod">
          <ac:chgData name="Alexandre" userId="b4fbace6-72ad-4592-b27d-535191bf0bec" providerId="ADAL" clId="{43491469-63E5-4AF4-A451-2151A57B2BCA}" dt="2023-06-14T00:50:45.734" v="2463" actId="948"/>
          <ac:spMkLst>
            <pc:docMk/>
            <pc:sldMk cId="851057352" sldId="721"/>
            <ac:spMk id="2" creationId="{F6BC011C-B5B2-7D6E-6BA4-774C57C13EB5}"/>
          </ac:spMkLst>
        </pc:spChg>
        <pc:graphicFrameChg chg="add mod ord modVis replST">
          <ac:chgData name="Alexandre" userId="b4fbace6-72ad-4592-b27d-535191bf0bec" providerId="ADAL" clId="{43491469-63E5-4AF4-A451-2151A57B2BCA}" dt="2023-06-14T00:50:45.771" v="2480"/>
          <ac:graphicFrameMkLst>
            <pc:docMk/>
            <pc:sldMk cId="851057352" sldId="721"/>
            <ac:graphicFrameMk id="17" creationId="{37D7145E-1A6B-B5A4-130E-09503DCF6D53}"/>
          </ac:graphicFrameMkLst>
        </pc:graphicFrameChg>
      </pc:sldChg>
    </pc:docChg>
  </pc:docChgLst>
  <pc:docChgLst>
    <pc:chgData name="Alexandre Mercier" userId="b4fbace6-72ad-4592-b27d-535191bf0bec" providerId="ADAL" clId="{43491469-63E5-4AF4-A451-2151A57B2BCA}"/>
    <pc:docChg chg="undo redo custSel addSld delSld modSld sldOrd modMainMaster replTag">
      <pc:chgData name="Alexandre Mercier" userId="b4fbace6-72ad-4592-b27d-535191bf0bec" providerId="ADAL" clId="{43491469-63E5-4AF4-A451-2151A57B2BCA}" dt="2023-05-26T11:22:41.843" v="46854"/>
      <pc:docMkLst>
        <pc:docMk/>
      </pc:docMkLst>
      <pc:sldChg chg="addSp delSp modSp del mod modClrScheme chgLayout">
        <pc:chgData name="Alexandre Mercier" userId="b4fbace6-72ad-4592-b27d-535191bf0bec" providerId="ADAL" clId="{43491469-63E5-4AF4-A451-2151A57B2BCA}" dt="2023-05-16T20:23:26.537" v="266"/>
        <pc:sldMkLst>
          <pc:docMk/>
          <pc:sldMk cId="0" sldId="256"/>
        </pc:sldMkLst>
        <pc:spChg chg="add del mod">
          <ac:chgData name="Alexandre Mercier" userId="b4fbace6-72ad-4592-b27d-535191bf0bec" providerId="ADAL" clId="{43491469-63E5-4AF4-A451-2151A57B2BCA}" dt="2023-05-16T20:23:24.561" v="264"/>
          <ac:spMkLst>
            <pc:docMk/>
            <pc:sldMk cId="0" sldId="256"/>
            <ac:spMk id="2" creationId="{646E9030-708F-C075-FE7B-3B0AB9C3D5FF}"/>
          </ac:spMkLst>
        </pc:spChg>
        <pc:spChg chg="add del mod ord">
          <ac:chgData name="Alexandre Mercier" userId="b4fbace6-72ad-4592-b27d-535191bf0bec" providerId="ADAL" clId="{43491469-63E5-4AF4-A451-2151A57B2BCA}" dt="2023-05-16T20:07:34.951" v="253" actId="700"/>
          <ac:spMkLst>
            <pc:docMk/>
            <pc:sldMk cId="0" sldId="256"/>
            <ac:spMk id="3" creationId="{9E042D37-49B6-2E08-55DE-2810B3E60185}"/>
          </ac:spMkLst>
        </pc:spChg>
        <pc:spChg chg="add del mod ord">
          <ac:chgData name="Alexandre Mercier" userId="b4fbace6-72ad-4592-b27d-535191bf0bec" providerId="ADAL" clId="{43491469-63E5-4AF4-A451-2151A57B2BCA}" dt="2023-05-16T20:07:34.951" v="253" actId="700"/>
          <ac:spMkLst>
            <pc:docMk/>
            <pc:sldMk cId="0" sldId="256"/>
            <ac:spMk id="4" creationId="{03AB902E-81A1-A435-6415-2025F77D4A33}"/>
          </ac:spMkLst>
        </pc:spChg>
        <pc:spChg chg="add del mod ord">
          <ac:chgData name="Alexandre Mercier" userId="b4fbace6-72ad-4592-b27d-535191bf0bec" providerId="ADAL" clId="{43491469-63E5-4AF4-A451-2151A57B2BCA}" dt="2023-05-16T20:07:55.010" v="255" actId="700"/>
          <ac:spMkLst>
            <pc:docMk/>
            <pc:sldMk cId="0" sldId="256"/>
            <ac:spMk id="5" creationId="{95F80F46-9198-A846-5835-605059F05F8D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0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2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6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8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20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22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24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26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28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30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31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32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33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34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35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36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37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43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44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45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51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52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53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54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55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56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57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58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69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75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76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77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83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84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85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91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92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93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99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00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04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10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11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12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18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20:23:25.481" v="265" actId="1076"/>
          <ac:spMkLst>
            <pc:docMk/>
            <pc:sldMk cId="0" sldId="256"/>
            <ac:spMk id="119" creationId="{00000000-0000-0000-0000-000000000000}"/>
          </ac:spMkLst>
        </pc:spChg>
        <pc:picChg chg="add del">
          <ac:chgData name="Alexandre Mercier" userId="b4fbace6-72ad-4592-b27d-535191bf0bec" providerId="ADAL" clId="{43491469-63E5-4AF4-A451-2151A57B2BCA}" dt="2023-05-16T20:09:45.665" v="261" actId="22"/>
          <ac:picMkLst>
            <pc:docMk/>
            <pc:sldMk cId="0" sldId="256"/>
            <ac:picMk id="7" creationId="{5F64D1E5-CAEC-A949-4565-DC150BC2D7D2}"/>
          </ac:picMkLst>
        </pc:picChg>
        <pc:cxnChg chg="mod">
          <ac:chgData name="Alexandre Mercier" userId="b4fbace6-72ad-4592-b27d-535191bf0bec" providerId="ADAL" clId="{43491469-63E5-4AF4-A451-2151A57B2BCA}" dt="2023-05-16T20:23:25.481" v="265" actId="1076"/>
          <ac:cxnSpMkLst>
            <pc:docMk/>
            <pc:sldMk cId="0" sldId="256"/>
            <ac:cxnSpMk id="17" creationId="{00000000-0000-0000-0000-000000000000}"/>
          </ac:cxnSpMkLst>
        </pc:cxnChg>
        <pc:cxnChg chg="mod">
          <ac:chgData name="Alexandre Mercier" userId="b4fbace6-72ad-4592-b27d-535191bf0bec" providerId="ADAL" clId="{43491469-63E5-4AF4-A451-2151A57B2BCA}" dt="2023-05-16T20:23:25.481" v="265" actId="1076"/>
          <ac:cxnSpMkLst>
            <pc:docMk/>
            <pc:sldMk cId="0" sldId="256"/>
            <ac:cxnSpMk id="19" creationId="{00000000-0000-0000-0000-000000000000}"/>
          </ac:cxnSpMkLst>
        </pc:cxnChg>
        <pc:cxnChg chg="mod">
          <ac:chgData name="Alexandre Mercier" userId="b4fbace6-72ad-4592-b27d-535191bf0bec" providerId="ADAL" clId="{43491469-63E5-4AF4-A451-2151A57B2BCA}" dt="2023-05-16T20:23:25.481" v="265" actId="1076"/>
          <ac:cxnSpMkLst>
            <pc:docMk/>
            <pc:sldMk cId="0" sldId="256"/>
            <ac:cxnSpMk id="21" creationId="{00000000-0000-0000-0000-000000000000}"/>
          </ac:cxnSpMkLst>
        </pc:cxnChg>
        <pc:cxnChg chg="mod">
          <ac:chgData name="Alexandre Mercier" userId="b4fbace6-72ad-4592-b27d-535191bf0bec" providerId="ADAL" clId="{43491469-63E5-4AF4-A451-2151A57B2BCA}" dt="2023-05-16T20:23:25.481" v="265" actId="1076"/>
          <ac:cxnSpMkLst>
            <pc:docMk/>
            <pc:sldMk cId="0" sldId="256"/>
            <ac:cxnSpMk id="23" creationId="{00000000-0000-0000-0000-000000000000}"/>
          </ac:cxnSpMkLst>
        </pc:cxnChg>
        <pc:cxnChg chg="mod">
          <ac:chgData name="Alexandre Mercier" userId="b4fbace6-72ad-4592-b27d-535191bf0bec" providerId="ADAL" clId="{43491469-63E5-4AF4-A451-2151A57B2BCA}" dt="2023-05-16T20:23:25.481" v="265" actId="1076"/>
          <ac:cxnSpMkLst>
            <pc:docMk/>
            <pc:sldMk cId="0" sldId="256"/>
            <ac:cxnSpMk id="25" creationId="{00000000-0000-0000-0000-000000000000}"/>
          </ac:cxnSpMkLst>
        </pc:cxnChg>
        <pc:cxnChg chg="mod">
          <ac:chgData name="Alexandre Mercier" userId="b4fbace6-72ad-4592-b27d-535191bf0bec" providerId="ADAL" clId="{43491469-63E5-4AF4-A451-2151A57B2BCA}" dt="2023-05-16T20:23:25.481" v="265" actId="1076"/>
          <ac:cxnSpMkLst>
            <pc:docMk/>
            <pc:sldMk cId="0" sldId="256"/>
            <ac:cxnSpMk id="27" creationId="{00000000-0000-0000-0000-000000000000}"/>
          </ac:cxnSpMkLst>
        </pc:cxnChg>
        <pc:cxnChg chg="mod">
          <ac:chgData name="Alexandre Mercier" userId="b4fbace6-72ad-4592-b27d-535191bf0bec" providerId="ADAL" clId="{43491469-63E5-4AF4-A451-2151A57B2BCA}" dt="2023-05-16T20:23:25.481" v="265" actId="1076"/>
          <ac:cxnSpMkLst>
            <pc:docMk/>
            <pc:sldMk cId="0" sldId="256"/>
            <ac:cxnSpMk id="29" creationId="{00000000-0000-0000-0000-000000000000}"/>
          </ac:cxnSpMkLst>
        </pc:cxnChg>
      </pc:sldChg>
      <pc:sldChg chg="modSp mod">
        <pc:chgData name="Alexandre Mercier" userId="b4fbace6-72ad-4592-b27d-535191bf0bec" providerId="ADAL" clId="{43491469-63E5-4AF4-A451-2151A57B2BCA}" dt="2023-05-16T16:42:16.075" v="239" actId="20577"/>
        <pc:sldMkLst>
          <pc:docMk/>
          <pc:sldMk cId="1496881392" sldId="672"/>
        </pc:sldMkLst>
        <pc:spChg chg="mod">
          <ac:chgData name="Alexandre Mercier" userId="b4fbace6-72ad-4592-b27d-535191bf0bec" providerId="ADAL" clId="{43491469-63E5-4AF4-A451-2151A57B2BCA}" dt="2023-05-16T16:42:16.075" v="239" actId="20577"/>
          <ac:spMkLst>
            <pc:docMk/>
            <pc:sldMk cId="1496881392" sldId="672"/>
            <ac:spMk id="2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16:16:19.810" v="220" actId="6549"/>
          <ac:spMkLst>
            <pc:docMk/>
            <pc:sldMk cId="1496881392" sldId="672"/>
            <ac:spMk id="3" creationId="{00000000-0000-0000-0000-000000000000}"/>
          </ac:spMkLst>
        </pc:spChg>
        <pc:spChg chg="mod">
          <ac:chgData name="Alexandre Mercier" userId="b4fbace6-72ad-4592-b27d-535191bf0bec" providerId="ADAL" clId="{43491469-63E5-4AF4-A451-2151A57B2BCA}" dt="2023-05-16T16:40:40.567" v="223" actId="1076"/>
          <ac:spMkLst>
            <pc:docMk/>
            <pc:sldMk cId="1496881392" sldId="672"/>
            <ac:spMk id="7" creationId="{00000000-0000-0000-0000-000000000000}"/>
          </ac:spMkLst>
        </pc:spChg>
      </pc:sldChg>
      <pc:sldChg chg="del">
        <pc:chgData name="Alexandre Mercier" userId="b4fbace6-72ad-4592-b27d-535191bf0bec" providerId="ADAL" clId="{43491469-63E5-4AF4-A451-2151A57B2BCA}" dt="2023-05-16T16:16:33.299" v="221" actId="47"/>
        <pc:sldMkLst>
          <pc:docMk/>
          <pc:sldMk cId="1627620002" sldId="673"/>
        </pc:sldMkLst>
      </pc:sldChg>
      <pc:sldChg chg="modSp mod">
        <pc:chgData name="Alexandre Mercier" userId="b4fbace6-72ad-4592-b27d-535191bf0bec" providerId="ADAL" clId="{43491469-63E5-4AF4-A451-2151A57B2BCA}" dt="2023-05-23T13:47:53.963" v="39889" actId="1076"/>
        <pc:sldMkLst>
          <pc:docMk/>
          <pc:sldMk cId="1624702422" sldId="694"/>
        </pc:sldMkLst>
        <pc:grpChg chg="mod">
          <ac:chgData name="Alexandre Mercier" userId="b4fbace6-72ad-4592-b27d-535191bf0bec" providerId="ADAL" clId="{43491469-63E5-4AF4-A451-2151A57B2BCA}" dt="2023-05-23T13:47:53.963" v="39889" actId="1076"/>
          <ac:grpSpMkLst>
            <pc:docMk/>
            <pc:sldMk cId="1624702422" sldId="694"/>
            <ac:grpSpMk id="62" creationId="{00000000-0000-0000-0000-000000000000}"/>
          </ac:grpSpMkLst>
        </pc:grpChg>
      </pc:sldChg>
      <pc:sldChg chg="addSp delSp modSp mod modNotesTx">
        <pc:chgData name="Alexandre Mercier" userId="b4fbace6-72ad-4592-b27d-535191bf0bec" providerId="ADAL" clId="{43491469-63E5-4AF4-A451-2151A57B2BCA}" dt="2023-05-26T10:29:49.494" v="46837" actId="20577"/>
        <pc:sldMkLst>
          <pc:docMk/>
          <pc:sldMk cId="1327605788" sldId="695"/>
        </pc:sldMkLst>
        <pc:spChg chg="add del mod modVis">
          <ac:chgData name="Alexandre Mercier" userId="b4fbace6-72ad-4592-b27d-535191bf0bec" providerId="ADAL" clId="{43491469-63E5-4AF4-A451-2151A57B2BCA}" dt="2023-05-25T12:07:25.925" v="46297"/>
          <ac:spMkLst>
            <pc:docMk/>
            <pc:sldMk cId="1327605788" sldId="695"/>
            <ac:spMk id="2" creationId="{409FDCFF-63D8-3EAD-1046-447ACD8B88EE}"/>
          </ac:spMkLst>
        </pc:spChg>
        <pc:spChg chg="mod">
          <ac:chgData name="Alexandre Mercier" userId="b4fbace6-72ad-4592-b27d-535191bf0bec" providerId="ADAL" clId="{43491469-63E5-4AF4-A451-2151A57B2BCA}" dt="2023-05-25T12:07:25.502" v="46273" actId="948"/>
          <ac:spMkLst>
            <pc:docMk/>
            <pc:sldMk cId="1327605788" sldId="695"/>
            <ac:spMk id="12" creationId="{00000000-0000-0000-0000-000000000000}"/>
          </ac:spMkLst>
        </pc:spChg>
        <pc:graphicFrameChg chg="add mod ord modVis replST">
          <ac:chgData name="Alexandre Mercier" userId="b4fbace6-72ad-4592-b27d-535191bf0bec" providerId="ADAL" clId="{43491469-63E5-4AF4-A451-2151A57B2BCA}" dt="2023-05-25T12:07:25.972" v="46312"/>
          <ac:graphicFrameMkLst>
            <pc:docMk/>
            <pc:sldMk cId="1327605788" sldId="695"/>
            <ac:graphicFrameMk id="3" creationId="{C3F17383-8114-3E75-825A-874E2665B2D1}"/>
          </ac:graphicFrameMkLst>
        </pc:graphicFrameChg>
      </pc:sldChg>
      <pc:sldChg chg="modSp add mod ord">
        <pc:chgData name="Alexandre Mercier" userId="b4fbace6-72ad-4592-b27d-535191bf0bec" providerId="ADAL" clId="{43491469-63E5-4AF4-A451-2151A57B2BCA}" dt="2023-05-25T11:31:11.093" v="45364"/>
        <pc:sldMkLst>
          <pc:docMk/>
          <pc:sldMk cId="2563700865" sldId="696"/>
        </pc:sldMkLst>
        <pc:spChg chg="mod">
          <ac:chgData name="Alexandre Mercier" userId="b4fbace6-72ad-4592-b27d-535191bf0bec" providerId="ADAL" clId="{43491469-63E5-4AF4-A451-2151A57B2BCA}" dt="2023-05-16T16:41:10.415" v="227" actId="1076"/>
          <ac:spMkLst>
            <pc:docMk/>
            <pc:sldMk cId="2563700865" sldId="696"/>
            <ac:spMk id="7" creationId="{00000000-0000-0000-0000-000000000000}"/>
          </ac:spMkLst>
        </pc:spChg>
      </pc:sldChg>
      <pc:sldChg chg="modSp add mod">
        <pc:chgData name="Alexandre Mercier" userId="b4fbace6-72ad-4592-b27d-535191bf0bec" providerId="ADAL" clId="{43491469-63E5-4AF4-A451-2151A57B2BCA}" dt="2023-05-16T16:52:35.972" v="240" actId="1076"/>
        <pc:sldMkLst>
          <pc:docMk/>
          <pc:sldMk cId="2683373587" sldId="697"/>
        </pc:sldMkLst>
        <pc:spChg chg="mod">
          <ac:chgData name="Alexandre Mercier" userId="b4fbace6-72ad-4592-b27d-535191bf0bec" providerId="ADAL" clId="{43491469-63E5-4AF4-A451-2151A57B2BCA}" dt="2023-05-16T16:52:35.972" v="240" actId="1076"/>
          <ac:spMkLst>
            <pc:docMk/>
            <pc:sldMk cId="2683373587" sldId="697"/>
            <ac:spMk id="7" creationId="{00000000-0000-0000-0000-000000000000}"/>
          </ac:spMkLst>
        </pc:spChg>
      </pc:sldChg>
      <pc:sldChg chg="addSp delSp modSp add mod">
        <pc:chgData name="Alexandre Mercier" userId="b4fbace6-72ad-4592-b27d-535191bf0bec" providerId="ADAL" clId="{43491469-63E5-4AF4-A451-2151A57B2BCA}" dt="2023-05-16T20:09:40.146" v="259" actId="22"/>
        <pc:sldMkLst>
          <pc:docMk/>
          <pc:sldMk cId="2007659245" sldId="698"/>
        </pc:sldMkLst>
        <pc:spChg chg="mod">
          <ac:chgData name="Alexandre Mercier" userId="b4fbace6-72ad-4592-b27d-535191bf0bec" providerId="ADAL" clId="{43491469-63E5-4AF4-A451-2151A57B2BCA}" dt="2023-05-16T16:52:42.831" v="241" actId="1076"/>
          <ac:spMkLst>
            <pc:docMk/>
            <pc:sldMk cId="2007659245" sldId="698"/>
            <ac:spMk id="7" creationId="{00000000-0000-0000-0000-000000000000}"/>
          </ac:spMkLst>
        </pc:spChg>
        <pc:spChg chg="add del">
          <ac:chgData name="Alexandre Mercier" userId="b4fbace6-72ad-4592-b27d-535191bf0bec" providerId="ADAL" clId="{43491469-63E5-4AF4-A451-2151A57B2BCA}" dt="2023-05-16T20:09:32.668" v="257" actId="22"/>
          <ac:spMkLst>
            <pc:docMk/>
            <pc:sldMk cId="2007659245" sldId="698"/>
            <ac:spMk id="9" creationId="{B49EB358-E77A-2698-C3ED-E40AFF3467A9}"/>
          </ac:spMkLst>
        </pc:spChg>
        <pc:picChg chg="add del">
          <ac:chgData name="Alexandre Mercier" userId="b4fbace6-72ad-4592-b27d-535191bf0bec" providerId="ADAL" clId="{43491469-63E5-4AF4-A451-2151A57B2BCA}" dt="2023-05-16T20:09:40.146" v="259" actId="22"/>
          <ac:picMkLst>
            <pc:docMk/>
            <pc:sldMk cId="2007659245" sldId="698"/>
            <ac:picMk id="11" creationId="{EDC2FDC2-311D-7561-332D-71CFBCD83DBB}"/>
          </ac:picMkLst>
        </pc:picChg>
      </pc:sldChg>
      <pc:sldChg chg="addSp delSp modSp new mod modNotesTx">
        <pc:chgData name="Alexandre Mercier" userId="b4fbace6-72ad-4592-b27d-535191bf0bec" providerId="ADAL" clId="{43491469-63E5-4AF4-A451-2151A57B2BCA}" dt="2023-05-26T10:04:24.558" v="46609" actId="1076"/>
        <pc:sldMkLst>
          <pc:docMk/>
          <pc:sldMk cId="2061202111" sldId="699"/>
        </pc:sldMkLst>
        <pc:spChg chg="mod">
          <ac:chgData name="Alexandre Mercier" userId="b4fbace6-72ad-4592-b27d-535191bf0bec" providerId="ADAL" clId="{43491469-63E5-4AF4-A451-2151A57B2BCA}" dt="2023-05-16T20:49:43.428" v="294" actId="20577"/>
          <ac:spMkLst>
            <pc:docMk/>
            <pc:sldMk cId="2061202111" sldId="699"/>
            <ac:spMk id="2" creationId="{678DEAC3-016F-A6D6-2681-AA4F450936E1}"/>
          </ac:spMkLst>
        </pc:spChg>
        <pc:spChg chg="del">
          <ac:chgData name="Alexandre Mercier" userId="b4fbace6-72ad-4592-b27d-535191bf0bec" providerId="ADAL" clId="{43491469-63E5-4AF4-A451-2151A57B2BCA}" dt="2023-05-16T20:42:33.586" v="268"/>
          <ac:spMkLst>
            <pc:docMk/>
            <pc:sldMk cId="2061202111" sldId="699"/>
            <ac:spMk id="3" creationId="{CBDCB47D-40B9-48DF-62F8-971798324426}"/>
          </ac:spMkLst>
        </pc:spChg>
        <pc:spChg chg="add del mod">
          <ac:chgData name="Alexandre Mercier" userId="b4fbace6-72ad-4592-b27d-535191bf0bec" providerId="ADAL" clId="{43491469-63E5-4AF4-A451-2151A57B2BCA}" dt="2023-05-26T10:03:36.890" v="46598" actId="931"/>
          <ac:spMkLst>
            <pc:docMk/>
            <pc:sldMk cId="2061202111" sldId="699"/>
            <ac:spMk id="7" creationId="{C13BFBF2-2CE5-CE0A-B3D3-0CFEED0691AA}"/>
          </ac:spMkLst>
        </pc:spChg>
        <pc:picChg chg="add del mod modCrop">
          <ac:chgData name="Alexandre Mercier" userId="b4fbace6-72ad-4592-b27d-535191bf0bec" providerId="ADAL" clId="{43491469-63E5-4AF4-A451-2151A57B2BCA}" dt="2023-05-26T10:03:25.828" v="46597" actId="478"/>
          <ac:picMkLst>
            <pc:docMk/>
            <pc:sldMk cId="2061202111" sldId="699"/>
            <ac:picMk id="8" creationId="{3082CBF5-4E08-396C-EC08-7CE92746FF81}"/>
          </ac:picMkLst>
        </pc:picChg>
        <pc:picChg chg="add mod modCrop">
          <ac:chgData name="Alexandre Mercier" userId="b4fbace6-72ad-4592-b27d-535191bf0bec" providerId="ADAL" clId="{43491469-63E5-4AF4-A451-2151A57B2BCA}" dt="2023-05-26T10:04:24.558" v="46609" actId="1076"/>
          <ac:picMkLst>
            <pc:docMk/>
            <pc:sldMk cId="2061202111" sldId="699"/>
            <ac:picMk id="10" creationId="{CDA1BC09-92DD-7C4D-EF5E-DFD3AAF74E32}"/>
          </ac:picMkLst>
        </pc:picChg>
      </pc:sldChg>
      <pc:sldChg chg="addSp delSp modSp new mod modAnim modNotesTx">
        <pc:chgData name="Alexandre Mercier" userId="b4fbace6-72ad-4592-b27d-535191bf0bec" providerId="ADAL" clId="{43491469-63E5-4AF4-A451-2151A57B2BCA}" dt="2023-05-26T09:57:17.962" v="46576"/>
        <pc:sldMkLst>
          <pc:docMk/>
          <pc:sldMk cId="650773634" sldId="700"/>
        </pc:sldMkLst>
        <pc:spChg chg="mod">
          <ac:chgData name="Alexandre Mercier" userId="b4fbace6-72ad-4592-b27d-535191bf0bec" providerId="ADAL" clId="{43491469-63E5-4AF4-A451-2151A57B2BCA}" dt="2023-05-25T11:32:43.899" v="45534" actId="948"/>
          <ac:spMkLst>
            <pc:docMk/>
            <pc:sldMk cId="650773634" sldId="700"/>
            <ac:spMk id="2" creationId="{A4D7C5C2-37DE-9277-1C60-6C730E7E73C0}"/>
          </ac:spMkLst>
        </pc:spChg>
        <pc:spChg chg="del mod">
          <ac:chgData name="Alexandre Mercier" userId="b4fbace6-72ad-4592-b27d-535191bf0bec" providerId="ADAL" clId="{43491469-63E5-4AF4-A451-2151A57B2BCA}" dt="2023-05-16T23:47:22.148" v="313"/>
          <ac:spMkLst>
            <pc:docMk/>
            <pc:sldMk cId="650773634" sldId="700"/>
            <ac:spMk id="3" creationId="{81FB24E6-A997-F14B-5A32-FE66682A061A}"/>
          </ac:spMkLst>
        </pc:spChg>
        <pc:spChg chg="add mod">
          <ac:chgData name="Alexandre Mercier" userId="b4fbace6-72ad-4592-b27d-535191bf0bec" providerId="ADAL" clId="{43491469-63E5-4AF4-A451-2151A57B2BCA}" dt="2023-05-25T11:35:47.535" v="45621" actId="1076"/>
          <ac:spMkLst>
            <pc:docMk/>
            <pc:sldMk cId="650773634" sldId="700"/>
            <ac:spMk id="7" creationId="{EE271423-2E6F-36F7-EB41-2FC819A8D899}"/>
          </ac:spMkLst>
        </pc:spChg>
        <pc:spChg chg="add mod ord">
          <ac:chgData name="Alexandre Mercier" userId="b4fbace6-72ad-4592-b27d-535191bf0bec" providerId="ADAL" clId="{43491469-63E5-4AF4-A451-2151A57B2BCA}" dt="2023-05-16T23:50:57.529" v="325" actId="164"/>
          <ac:spMkLst>
            <pc:docMk/>
            <pc:sldMk cId="650773634" sldId="700"/>
            <ac:spMk id="9" creationId="{DE17FE12-44DF-0B42-740F-B1FCA79C9544}"/>
          </ac:spMkLst>
        </pc:spChg>
        <pc:spChg chg="add del mod modVis">
          <ac:chgData name="Alexandre Mercier" userId="b4fbace6-72ad-4592-b27d-535191bf0bec" providerId="ADAL" clId="{43491469-63E5-4AF4-A451-2151A57B2BCA}" dt="2023-05-25T11:32:29.867" v="45430"/>
          <ac:spMkLst>
            <pc:docMk/>
            <pc:sldMk cId="650773634" sldId="700"/>
            <ac:spMk id="10" creationId="{B9ECC4AE-956D-2D8C-7A58-96D9CF405AF6}"/>
          </ac:spMkLst>
        </pc:spChg>
        <pc:spChg chg="mod">
          <ac:chgData name="Alexandre Mercier" userId="b4fbace6-72ad-4592-b27d-535191bf0bec" providerId="ADAL" clId="{43491469-63E5-4AF4-A451-2151A57B2BCA}" dt="2023-05-16T23:50:57.529" v="325" actId="164"/>
          <ac:spMkLst>
            <pc:docMk/>
            <pc:sldMk cId="650773634" sldId="700"/>
            <ac:spMk id="11" creationId="{1C253C8D-9D62-DE21-3FD3-D10D86C7856D}"/>
          </ac:spMkLst>
        </pc:spChg>
        <pc:spChg chg="mod">
          <ac:chgData name="Alexandre Mercier" userId="b4fbace6-72ad-4592-b27d-535191bf0bec" providerId="ADAL" clId="{43491469-63E5-4AF4-A451-2151A57B2BCA}" dt="2023-05-16T23:50:57.529" v="325" actId="164"/>
          <ac:spMkLst>
            <pc:docMk/>
            <pc:sldMk cId="650773634" sldId="700"/>
            <ac:spMk id="12" creationId="{23D26E7E-5DE9-6222-3162-F535B3FC53BC}"/>
          </ac:spMkLst>
        </pc:spChg>
        <pc:spChg chg="mod">
          <ac:chgData name="Alexandre Mercier" userId="b4fbace6-72ad-4592-b27d-535191bf0bec" providerId="ADAL" clId="{43491469-63E5-4AF4-A451-2151A57B2BCA}" dt="2023-05-16T23:50:51.895" v="324" actId="27803"/>
          <ac:spMkLst>
            <pc:docMk/>
            <pc:sldMk cId="650773634" sldId="700"/>
            <ac:spMk id="14" creationId="{6A89EB7E-5A08-C86A-5985-3CB40C50B94A}"/>
          </ac:spMkLst>
        </pc:spChg>
        <pc:spChg chg="mod">
          <ac:chgData name="Alexandre Mercier" userId="b4fbace6-72ad-4592-b27d-535191bf0bec" providerId="ADAL" clId="{43491469-63E5-4AF4-A451-2151A57B2BCA}" dt="2023-05-16T23:50:51.895" v="324" actId="27803"/>
          <ac:spMkLst>
            <pc:docMk/>
            <pc:sldMk cId="650773634" sldId="700"/>
            <ac:spMk id="15" creationId="{A767F4E2-04A8-B9C1-A5BA-8A3A0233F73D}"/>
          </ac:spMkLst>
        </pc:spChg>
        <pc:spChg chg="mod">
          <ac:chgData name="Alexandre Mercier" userId="b4fbace6-72ad-4592-b27d-535191bf0bec" providerId="ADAL" clId="{43491469-63E5-4AF4-A451-2151A57B2BCA}" dt="2023-05-16T23:50:57.529" v="325" actId="164"/>
          <ac:spMkLst>
            <pc:docMk/>
            <pc:sldMk cId="650773634" sldId="700"/>
            <ac:spMk id="16" creationId="{9185848A-0150-F3E1-E311-C94810A48B14}"/>
          </ac:spMkLst>
        </pc:spChg>
        <pc:spChg chg="mod">
          <ac:chgData name="Alexandre Mercier" userId="b4fbace6-72ad-4592-b27d-535191bf0bec" providerId="ADAL" clId="{43491469-63E5-4AF4-A451-2151A57B2BCA}" dt="2023-05-16T23:50:57.529" v="325" actId="164"/>
          <ac:spMkLst>
            <pc:docMk/>
            <pc:sldMk cId="650773634" sldId="700"/>
            <ac:spMk id="17" creationId="{60B1D686-ED42-AAD2-B1F8-01CEA5292F46}"/>
          </ac:spMkLst>
        </pc:spChg>
        <pc:spChg chg="mod">
          <ac:chgData name="Alexandre Mercier" userId="b4fbace6-72ad-4592-b27d-535191bf0bec" providerId="ADAL" clId="{43491469-63E5-4AF4-A451-2151A57B2BCA}" dt="2023-05-16T23:50:57.529" v="325" actId="164"/>
          <ac:spMkLst>
            <pc:docMk/>
            <pc:sldMk cId="650773634" sldId="700"/>
            <ac:spMk id="18" creationId="{1376CB6B-A337-D71E-B3AE-D97705604BD4}"/>
          </ac:spMkLst>
        </pc:spChg>
        <pc:spChg chg="mod">
          <ac:chgData name="Alexandre Mercier" userId="b4fbace6-72ad-4592-b27d-535191bf0bec" providerId="ADAL" clId="{43491469-63E5-4AF4-A451-2151A57B2BCA}" dt="2023-05-16T23:50:57.529" v="325" actId="164"/>
          <ac:spMkLst>
            <pc:docMk/>
            <pc:sldMk cId="650773634" sldId="700"/>
            <ac:spMk id="19" creationId="{6460ED42-7F3B-DC38-16D6-7257CD87CC29}"/>
          </ac:spMkLst>
        </pc:spChg>
        <pc:spChg chg="mod">
          <ac:chgData name="Alexandre Mercier" userId="b4fbace6-72ad-4592-b27d-535191bf0bec" providerId="ADAL" clId="{43491469-63E5-4AF4-A451-2151A57B2BCA}" dt="2023-05-16T23:50:57.529" v="325" actId="164"/>
          <ac:spMkLst>
            <pc:docMk/>
            <pc:sldMk cId="650773634" sldId="700"/>
            <ac:spMk id="20" creationId="{D2EC5B82-5B9C-AD5C-F039-28DD9D018788}"/>
          </ac:spMkLst>
        </pc:spChg>
        <pc:spChg chg="add mod">
          <ac:chgData name="Alexandre Mercier" userId="b4fbace6-72ad-4592-b27d-535191bf0bec" providerId="ADAL" clId="{43491469-63E5-4AF4-A451-2151A57B2BCA}" dt="2023-05-25T11:56:35.077" v="46265" actId="1076"/>
          <ac:spMkLst>
            <pc:docMk/>
            <pc:sldMk cId="650773634" sldId="700"/>
            <ac:spMk id="22" creationId="{38752247-FBB5-E582-7E54-14912C60D8D5}"/>
          </ac:spMkLst>
        </pc:spChg>
        <pc:spChg chg="add del mod modVis">
          <ac:chgData name="Alexandre Mercier" userId="b4fbace6-72ad-4592-b27d-535191bf0bec" providerId="ADAL" clId="{43491469-63E5-4AF4-A451-2151A57B2BCA}" dt="2023-05-25T11:32:30.918" v="45463"/>
          <ac:spMkLst>
            <pc:docMk/>
            <pc:sldMk cId="650773634" sldId="700"/>
            <ac:spMk id="23" creationId="{23407E37-F3DE-D0DC-1C1C-3EF5DA7FCC28}"/>
          </ac:spMkLst>
        </pc:spChg>
        <pc:spChg chg="add del mod modVis">
          <ac:chgData name="Alexandre Mercier" userId="b4fbace6-72ad-4592-b27d-535191bf0bec" providerId="ADAL" clId="{43491469-63E5-4AF4-A451-2151A57B2BCA}" dt="2023-05-25T11:32:33.178" v="45498"/>
          <ac:spMkLst>
            <pc:docMk/>
            <pc:sldMk cId="650773634" sldId="700"/>
            <ac:spMk id="24" creationId="{26E214DC-CD00-4018-5B06-25C04918F073}"/>
          </ac:spMkLst>
        </pc:spChg>
        <pc:spChg chg="add del mod modVis">
          <ac:chgData name="Alexandre Mercier" userId="b4fbace6-72ad-4592-b27d-535191bf0bec" providerId="ADAL" clId="{43491469-63E5-4AF4-A451-2151A57B2BCA}" dt="2023-05-25T11:32:35.454" v="45529"/>
          <ac:spMkLst>
            <pc:docMk/>
            <pc:sldMk cId="650773634" sldId="700"/>
            <ac:spMk id="25" creationId="{F8D2AD20-F174-92ED-89FD-B3B5ACF35223}"/>
          </ac:spMkLst>
        </pc:spChg>
        <pc:spChg chg="add del mod modVis">
          <ac:chgData name="Alexandre Mercier" userId="b4fbace6-72ad-4592-b27d-535191bf0bec" providerId="ADAL" clId="{43491469-63E5-4AF4-A451-2151A57B2BCA}" dt="2023-05-25T11:32:44.184" v="45558"/>
          <ac:spMkLst>
            <pc:docMk/>
            <pc:sldMk cId="650773634" sldId="700"/>
            <ac:spMk id="26" creationId="{B7B84EBA-D90B-708E-207F-0A142AE9320E}"/>
          </ac:spMkLst>
        </pc:spChg>
        <pc:spChg chg="add del">
          <ac:chgData name="Alexandre Mercier" userId="b4fbace6-72ad-4592-b27d-535191bf0bec" providerId="ADAL" clId="{43491469-63E5-4AF4-A451-2151A57B2BCA}" dt="2023-05-25T11:42:26.750" v="45686" actId="22"/>
          <ac:spMkLst>
            <pc:docMk/>
            <pc:sldMk cId="650773634" sldId="700"/>
            <ac:spMk id="28" creationId="{473035D3-D9E1-9F4B-10BB-FB8990298037}"/>
          </ac:spMkLst>
        </pc:spChg>
        <pc:spChg chg="add mod">
          <ac:chgData name="Alexandre Mercier" userId="b4fbace6-72ad-4592-b27d-535191bf0bec" providerId="ADAL" clId="{43491469-63E5-4AF4-A451-2151A57B2BCA}" dt="2023-05-26T09:56:59.903" v="46572" actId="1076"/>
          <ac:spMkLst>
            <pc:docMk/>
            <pc:sldMk cId="650773634" sldId="700"/>
            <ac:spMk id="29" creationId="{0170F7FA-FC53-C0BF-63B4-D95C73620F83}"/>
          </ac:spMkLst>
        </pc:spChg>
        <pc:grpChg chg="del mod">
          <ac:chgData name="Alexandre Mercier" userId="b4fbace6-72ad-4592-b27d-535191bf0bec" providerId="ADAL" clId="{43491469-63E5-4AF4-A451-2151A57B2BCA}" dt="2023-05-16T23:50:51.895" v="324" actId="27803"/>
          <ac:grpSpMkLst>
            <pc:docMk/>
            <pc:sldMk cId="650773634" sldId="700"/>
            <ac:grpSpMk id="10" creationId="{DE1E57F2-C4B4-3B60-A438-A8980022A091}"/>
          </ac:grpSpMkLst>
        </pc:grpChg>
        <pc:grpChg chg="mod">
          <ac:chgData name="Alexandre Mercier" userId="b4fbace6-72ad-4592-b27d-535191bf0bec" providerId="ADAL" clId="{43491469-63E5-4AF4-A451-2151A57B2BCA}" dt="2023-05-16T23:50:57.529" v="325" actId="164"/>
          <ac:grpSpMkLst>
            <pc:docMk/>
            <pc:sldMk cId="650773634" sldId="700"/>
            <ac:grpSpMk id="13" creationId="{57E5FB6B-E290-688A-F71D-A78A9BB148CB}"/>
          </ac:grpSpMkLst>
        </pc:grpChg>
        <pc:grpChg chg="add mod">
          <ac:chgData name="Alexandre Mercier" userId="b4fbace6-72ad-4592-b27d-535191bf0bec" providerId="ADAL" clId="{43491469-63E5-4AF4-A451-2151A57B2BCA}" dt="2023-05-25T11:56:39.083" v="46266" actId="1076"/>
          <ac:grpSpMkLst>
            <pc:docMk/>
            <pc:sldMk cId="650773634" sldId="700"/>
            <ac:grpSpMk id="21" creationId="{5506EA56-0E32-B54D-99E8-C65FDD3D33C7}"/>
          </ac:grpSpMkLst>
        </pc:grpChg>
        <pc:graphicFrameChg chg="add mod ord modVis replST">
          <ac:chgData name="Alexandre Mercier" userId="b4fbace6-72ad-4592-b27d-535191bf0bec" providerId="ADAL" clId="{43491469-63E5-4AF4-A451-2151A57B2BCA}" dt="2023-05-25T11:32:44.184" v="45560"/>
          <ac:graphicFrameMkLst>
            <pc:docMk/>
            <pc:sldMk cId="650773634" sldId="700"/>
            <ac:graphicFrameMk id="8" creationId="{89F0EBBC-5888-8FF4-A95A-ED571111FE7C}"/>
          </ac:graphicFrameMkLst>
        </pc:graphicFrameChg>
        <pc:picChg chg="add del mod">
          <ac:chgData name="Alexandre Mercier" userId="b4fbace6-72ad-4592-b27d-535191bf0bec" providerId="ADAL" clId="{43491469-63E5-4AF4-A451-2151A57B2BCA}" dt="2023-05-16T23:50:51.895" v="324" actId="27803"/>
          <ac:picMkLst>
            <pc:docMk/>
            <pc:sldMk cId="650773634" sldId="700"/>
            <ac:picMk id="8" creationId="{F6DFBE75-24E5-73A2-9C80-051380FE0D81}"/>
          </ac:picMkLst>
        </pc:picChg>
      </pc:sldChg>
      <pc:sldChg chg="addSp delSp modSp new mod ord modTransition modShow modNotesTx">
        <pc:chgData name="Alexandre Mercier" userId="b4fbace6-72ad-4592-b27d-535191bf0bec" providerId="ADAL" clId="{43491469-63E5-4AF4-A451-2151A57B2BCA}" dt="2023-05-25T11:31:36.853" v="45368"/>
        <pc:sldMkLst>
          <pc:docMk/>
          <pc:sldMk cId="3712962803" sldId="701"/>
        </pc:sldMkLst>
        <pc:spChg chg="mod">
          <ac:chgData name="Alexandre Mercier" userId="b4fbace6-72ad-4592-b27d-535191bf0bec" providerId="ADAL" clId="{43491469-63E5-4AF4-A451-2151A57B2BCA}" dt="2023-05-17T00:31:05.569" v="580" actId="20577"/>
          <ac:spMkLst>
            <pc:docMk/>
            <pc:sldMk cId="3712962803" sldId="701"/>
            <ac:spMk id="2" creationId="{1B1BC37C-0669-E744-1E95-24C9F06DDF88}"/>
          </ac:spMkLst>
        </pc:spChg>
        <pc:spChg chg="del mod">
          <ac:chgData name="Alexandre Mercier" userId="b4fbace6-72ad-4592-b27d-535191bf0bec" providerId="ADAL" clId="{43491469-63E5-4AF4-A451-2151A57B2BCA}" dt="2023-05-17T12:06:35.046" v="2155" actId="478"/>
          <ac:spMkLst>
            <pc:docMk/>
            <pc:sldMk cId="3712962803" sldId="701"/>
            <ac:spMk id="3" creationId="{197FA042-E404-6012-DE0D-2CA125A0D66D}"/>
          </ac:spMkLst>
        </pc:spChg>
        <pc:spChg chg="mod ord">
          <ac:chgData name="Alexandre Mercier" userId="b4fbace6-72ad-4592-b27d-535191bf0bec" providerId="ADAL" clId="{43491469-63E5-4AF4-A451-2151A57B2BCA}" dt="2023-05-17T12:11:15.745" v="2283" actId="207"/>
          <ac:spMkLst>
            <pc:docMk/>
            <pc:sldMk cId="3712962803" sldId="701"/>
            <ac:spMk id="8" creationId="{BB85BA4B-68AE-C33F-4121-18EC01C6D21D}"/>
          </ac:spMkLst>
        </pc:spChg>
        <pc:spChg chg="mod">
          <ac:chgData name="Alexandre Mercier" userId="b4fbace6-72ad-4592-b27d-535191bf0bec" providerId="ADAL" clId="{43491469-63E5-4AF4-A451-2151A57B2BCA}" dt="2023-05-17T12:11:15.745" v="2283" actId="207"/>
          <ac:spMkLst>
            <pc:docMk/>
            <pc:sldMk cId="3712962803" sldId="701"/>
            <ac:spMk id="9" creationId="{2E6C9C19-0AC1-91B2-A1AB-A412B08CE0B8}"/>
          </ac:spMkLst>
        </pc:spChg>
        <pc:spChg chg="mod">
          <ac:chgData name="Alexandre Mercier" userId="b4fbace6-72ad-4592-b27d-535191bf0bec" providerId="ADAL" clId="{43491469-63E5-4AF4-A451-2151A57B2BCA}" dt="2023-05-17T12:11:15.745" v="2283" actId="207"/>
          <ac:spMkLst>
            <pc:docMk/>
            <pc:sldMk cId="3712962803" sldId="701"/>
            <ac:spMk id="10" creationId="{FF71EA3B-84C7-2B74-65F7-F6A88085030B}"/>
          </ac:spMkLst>
        </pc:spChg>
        <pc:spChg chg="mod">
          <ac:chgData name="Alexandre Mercier" userId="b4fbace6-72ad-4592-b27d-535191bf0bec" providerId="ADAL" clId="{43491469-63E5-4AF4-A451-2151A57B2BCA}" dt="2023-05-17T12:11:15.745" v="2283" actId="207"/>
          <ac:spMkLst>
            <pc:docMk/>
            <pc:sldMk cId="3712962803" sldId="701"/>
            <ac:spMk id="11" creationId="{73272A16-5199-644E-63CD-AC84A16A0FC9}"/>
          </ac:spMkLst>
        </pc:spChg>
        <pc:spChg chg="mod">
          <ac:chgData name="Alexandre Mercier" userId="b4fbace6-72ad-4592-b27d-535191bf0bec" providerId="ADAL" clId="{43491469-63E5-4AF4-A451-2151A57B2BCA}" dt="2023-05-17T12:11:15.745" v="2283" actId="207"/>
          <ac:spMkLst>
            <pc:docMk/>
            <pc:sldMk cId="3712962803" sldId="701"/>
            <ac:spMk id="12" creationId="{6A5D3D07-85F8-FD80-9EB6-0CE7D7FBD88C}"/>
          </ac:spMkLst>
        </pc:spChg>
        <pc:spChg chg="add mod">
          <ac:chgData name="Alexandre Mercier" userId="b4fbace6-72ad-4592-b27d-535191bf0bec" providerId="ADAL" clId="{43491469-63E5-4AF4-A451-2151A57B2BCA}" dt="2023-05-17T12:10:26.348" v="2227" actId="207"/>
          <ac:spMkLst>
            <pc:docMk/>
            <pc:sldMk cId="3712962803" sldId="701"/>
            <ac:spMk id="13" creationId="{9E0AA476-18F3-4B77-DC7B-88278B84FDC7}"/>
          </ac:spMkLst>
        </pc:spChg>
        <pc:spChg chg="add mod">
          <ac:chgData name="Alexandre Mercier" userId="b4fbace6-72ad-4592-b27d-535191bf0bec" providerId="ADAL" clId="{43491469-63E5-4AF4-A451-2151A57B2BCA}" dt="2023-05-17T12:08:26.790" v="2196" actId="1076"/>
          <ac:spMkLst>
            <pc:docMk/>
            <pc:sldMk cId="3712962803" sldId="701"/>
            <ac:spMk id="14" creationId="{DE667285-7A72-796A-E7FA-FCC5CB626DAC}"/>
          </ac:spMkLst>
        </pc:spChg>
        <pc:spChg chg="mod">
          <ac:chgData name="Alexandre Mercier" userId="b4fbace6-72ad-4592-b27d-535191bf0bec" providerId="ADAL" clId="{43491469-63E5-4AF4-A451-2151A57B2BCA}" dt="2023-05-17T12:08:49.395" v="2198"/>
          <ac:spMkLst>
            <pc:docMk/>
            <pc:sldMk cId="3712962803" sldId="701"/>
            <ac:spMk id="16" creationId="{4DC26AE8-3E2C-D677-7C5A-2C00A5BC091F}"/>
          </ac:spMkLst>
        </pc:spChg>
        <pc:spChg chg="mod">
          <ac:chgData name="Alexandre Mercier" userId="b4fbace6-72ad-4592-b27d-535191bf0bec" providerId="ADAL" clId="{43491469-63E5-4AF4-A451-2151A57B2BCA}" dt="2023-05-17T12:08:49.395" v="2198"/>
          <ac:spMkLst>
            <pc:docMk/>
            <pc:sldMk cId="3712962803" sldId="701"/>
            <ac:spMk id="17" creationId="{5CDF0EC8-849B-0150-8AC5-B003A21FF4BE}"/>
          </ac:spMkLst>
        </pc:spChg>
        <pc:spChg chg="mod">
          <ac:chgData name="Alexandre Mercier" userId="b4fbace6-72ad-4592-b27d-535191bf0bec" providerId="ADAL" clId="{43491469-63E5-4AF4-A451-2151A57B2BCA}" dt="2023-05-17T12:08:49.395" v="2198"/>
          <ac:spMkLst>
            <pc:docMk/>
            <pc:sldMk cId="3712962803" sldId="701"/>
            <ac:spMk id="18" creationId="{E90312DE-AD05-3047-2D49-486F96C8BE39}"/>
          </ac:spMkLst>
        </pc:spChg>
        <pc:spChg chg="add mod">
          <ac:chgData name="Alexandre Mercier" userId="b4fbace6-72ad-4592-b27d-535191bf0bec" providerId="ADAL" clId="{43491469-63E5-4AF4-A451-2151A57B2BCA}" dt="2023-05-17T12:09:28.837" v="2211" actId="1076"/>
          <ac:spMkLst>
            <pc:docMk/>
            <pc:sldMk cId="3712962803" sldId="701"/>
            <ac:spMk id="19" creationId="{8F1DC014-C200-226A-D22F-445B848DF634}"/>
          </ac:spMkLst>
        </pc:spChg>
        <pc:spChg chg="add mod">
          <ac:chgData name="Alexandre Mercier" userId="b4fbace6-72ad-4592-b27d-535191bf0bec" providerId="ADAL" clId="{43491469-63E5-4AF4-A451-2151A57B2BCA}" dt="2023-05-17T12:10:00.988" v="2220" actId="20577"/>
          <ac:spMkLst>
            <pc:docMk/>
            <pc:sldMk cId="3712962803" sldId="701"/>
            <ac:spMk id="20" creationId="{4066F033-63AF-D654-E89D-FBFA226537A7}"/>
          </ac:spMkLst>
        </pc:spChg>
        <pc:spChg chg="add mod">
          <ac:chgData name="Alexandre Mercier" userId="b4fbace6-72ad-4592-b27d-535191bf0bec" providerId="ADAL" clId="{43491469-63E5-4AF4-A451-2151A57B2BCA}" dt="2023-05-17T12:10:05.166" v="2224" actId="20577"/>
          <ac:spMkLst>
            <pc:docMk/>
            <pc:sldMk cId="3712962803" sldId="701"/>
            <ac:spMk id="21" creationId="{0B82FCC8-5C20-5E44-E57E-DC7CCD00E0D3}"/>
          </ac:spMkLst>
        </pc:spChg>
        <pc:spChg chg="add mod">
          <ac:chgData name="Alexandre Mercier" userId="b4fbace6-72ad-4592-b27d-535191bf0bec" providerId="ADAL" clId="{43491469-63E5-4AF4-A451-2151A57B2BCA}" dt="2023-05-17T12:14:00.783" v="2396" actId="1076"/>
          <ac:spMkLst>
            <pc:docMk/>
            <pc:sldMk cId="3712962803" sldId="701"/>
            <ac:spMk id="22" creationId="{F6A456DE-4875-27A5-E11F-B34C8EDA18D1}"/>
          </ac:spMkLst>
        </pc:spChg>
        <pc:grpChg chg="add mod">
          <ac:chgData name="Alexandre Mercier" userId="b4fbace6-72ad-4592-b27d-535191bf0bec" providerId="ADAL" clId="{43491469-63E5-4AF4-A451-2151A57B2BCA}" dt="2023-05-17T12:11:15.745" v="2283" actId="207"/>
          <ac:grpSpMkLst>
            <pc:docMk/>
            <pc:sldMk cId="3712962803" sldId="701"/>
            <ac:grpSpMk id="7" creationId="{6196F85C-0A0E-C32F-CB32-00099C9D5849}"/>
          </ac:grpSpMkLst>
        </pc:grpChg>
        <pc:grpChg chg="add mod">
          <ac:chgData name="Alexandre Mercier" userId="b4fbace6-72ad-4592-b27d-535191bf0bec" providerId="ADAL" clId="{43491469-63E5-4AF4-A451-2151A57B2BCA}" dt="2023-05-17T12:09:28.837" v="2211" actId="1076"/>
          <ac:grpSpMkLst>
            <pc:docMk/>
            <pc:sldMk cId="3712962803" sldId="701"/>
            <ac:grpSpMk id="15" creationId="{DC8EE17D-948B-4755-33B8-E84DE4345B30}"/>
          </ac:grpSpMkLst>
        </pc:grpChg>
      </pc:sldChg>
      <pc:sldChg chg="addSp delSp modSp new mod ord modTransition modShow modNotesTx">
        <pc:chgData name="Alexandre Mercier" userId="b4fbace6-72ad-4592-b27d-535191bf0bec" providerId="ADAL" clId="{43491469-63E5-4AF4-A451-2151A57B2BCA}" dt="2023-05-25T11:37:44.110" v="45650" actId="20577"/>
        <pc:sldMkLst>
          <pc:docMk/>
          <pc:sldMk cId="2827051956" sldId="702"/>
        </pc:sldMkLst>
        <pc:spChg chg="mod">
          <ac:chgData name="Alexandre Mercier" userId="b4fbace6-72ad-4592-b27d-535191bf0bec" providerId="ADAL" clId="{43491469-63E5-4AF4-A451-2151A57B2BCA}" dt="2023-05-17T00:31:19.338" v="593" actId="20577"/>
          <ac:spMkLst>
            <pc:docMk/>
            <pc:sldMk cId="2827051956" sldId="702"/>
            <ac:spMk id="2" creationId="{32A92DB8-5530-5193-7884-E06332096CE9}"/>
          </ac:spMkLst>
        </pc:spChg>
        <pc:spChg chg="add del mod">
          <ac:chgData name="Alexandre Mercier" userId="b4fbace6-72ad-4592-b27d-535191bf0bec" providerId="ADAL" clId="{43491469-63E5-4AF4-A451-2151A57B2BCA}" dt="2023-05-17T00:32:37.623" v="624" actId="478"/>
          <ac:spMkLst>
            <pc:docMk/>
            <pc:sldMk cId="2827051956" sldId="702"/>
            <ac:spMk id="3" creationId="{3DDEF2C8-F532-5180-FE85-E40A94669761}"/>
          </ac:spMkLst>
        </pc:spChg>
        <pc:spChg chg="add mod">
          <ac:chgData name="Alexandre Mercier" userId="b4fbace6-72ad-4592-b27d-535191bf0bec" providerId="ADAL" clId="{43491469-63E5-4AF4-A451-2151A57B2BCA}" dt="2023-05-23T13:41:24.234" v="39842" actId="14861"/>
          <ac:spMkLst>
            <pc:docMk/>
            <pc:sldMk cId="2827051956" sldId="702"/>
            <ac:spMk id="7" creationId="{6994DCB7-D7FF-6B49-53E0-9ADAA292D857}"/>
          </ac:spMkLst>
        </pc:spChg>
        <pc:spChg chg="add del mod">
          <ac:chgData name="Alexandre Mercier" userId="b4fbace6-72ad-4592-b27d-535191bf0bec" providerId="ADAL" clId="{43491469-63E5-4AF4-A451-2151A57B2BCA}" dt="2023-05-17T00:32:35.702" v="623"/>
          <ac:spMkLst>
            <pc:docMk/>
            <pc:sldMk cId="2827051956" sldId="702"/>
            <ac:spMk id="8" creationId="{369F3864-6EC0-F295-3072-DD722DF22F42}"/>
          </ac:spMkLst>
        </pc:spChg>
        <pc:spChg chg="add mod">
          <ac:chgData name="Alexandre Mercier" userId="b4fbace6-72ad-4592-b27d-535191bf0bec" providerId="ADAL" clId="{43491469-63E5-4AF4-A451-2151A57B2BCA}" dt="2023-05-17T00:42:10.529" v="944" actId="1076"/>
          <ac:spMkLst>
            <pc:docMk/>
            <pc:sldMk cId="2827051956" sldId="702"/>
            <ac:spMk id="9" creationId="{BC6A39A8-E41B-60D1-174F-6A9A8883372C}"/>
          </ac:spMkLst>
        </pc:spChg>
        <pc:spChg chg="add mod">
          <ac:chgData name="Alexandre Mercier" userId="b4fbace6-72ad-4592-b27d-535191bf0bec" providerId="ADAL" clId="{43491469-63E5-4AF4-A451-2151A57B2BCA}" dt="2023-05-17T00:42:10.529" v="944" actId="1076"/>
          <ac:spMkLst>
            <pc:docMk/>
            <pc:sldMk cId="2827051956" sldId="702"/>
            <ac:spMk id="10" creationId="{C35E6CC6-6BAD-4A4E-3E98-58409E78484E}"/>
          </ac:spMkLst>
        </pc:spChg>
        <pc:spChg chg="add mod">
          <ac:chgData name="Alexandre Mercier" userId="b4fbace6-72ad-4592-b27d-535191bf0bec" providerId="ADAL" clId="{43491469-63E5-4AF4-A451-2151A57B2BCA}" dt="2023-05-17T00:42:10.529" v="944" actId="1076"/>
          <ac:spMkLst>
            <pc:docMk/>
            <pc:sldMk cId="2827051956" sldId="702"/>
            <ac:spMk id="15" creationId="{C06CAB2A-8644-78C7-3047-42CF2E0C6F29}"/>
          </ac:spMkLst>
        </pc:spChg>
        <pc:spChg chg="add mod">
          <ac:chgData name="Alexandre Mercier" userId="b4fbace6-72ad-4592-b27d-535191bf0bec" providerId="ADAL" clId="{43491469-63E5-4AF4-A451-2151A57B2BCA}" dt="2023-05-17T00:42:10.529" v="944" actId="1076"/>
          <ac:spMkLst>
            <pc:docMk/>
            <pc:sldMk cId="2827051956" sldId="702"/>
            <ac:spMk id="16" creationId="{DA85CD44-1C3A-133D-A818-6C94D24D86A4}"/>
          </ac:spMkLst>
        </pc:spChg>
        <pc:spChg chg="add mod">
          <ac:chgData name="Alexandre Mercier" userId="b4fbace6-72ad-4592-b27d-535191bf0bec" providerId="ADAL" clId="{43491469-63E5-4AF4-A451-2151A57B2BCA}" dt="2023-05-17T00:42:10.529" v="944" actId="1076"/>
          <ac:spMkLst>
            <pc:docMk/>
            <pc:sldMk cId="2827051956" sldId="702"/>
            <ac:spMk id="42" creationId="{19C237C8-7E30-C2EB-4D53-D6FEB5094137}"/>
          </ac:spMkLst>
        </pc:spChg>
        <pc:cxnChg chg="add del mod">
          <ac:chgData name="Alexandre Mercier" userId="b4fbace6-72ad-4592-b27d-535191bf0bec" providerId="ADAL" clId="{43491469-63E5-4AF4-A451-2151A57B2BCA}" dt="2023-05-17T00:37:31.817" v="808" actId="478"/>
          <ac:cxnSpMkLst>
            <pc:docMk/>
            <pc:sldMk cId="2827051956" sldId="702"/>
            <ac:cxnSpMk id="12" creationId="{347EDF4D-9C51-BEDB-CDC7-A264144E5146}"/>
          </ac:cxnSpMkLst>
        </pc:cxnChg>
        <pc:cxnChg chg="add mod">
          <ac:chgData name="Alexandre Mercier" userId="b4fbace6-72ad-4592-b27d-535191bf0bec" providerId="ADAL" clId="{43491469-63E5-4AF4-A451-2151A57B2BCA}" dt="2023-05-17T00:42:10.529" v="944" actId="1076"/>
          <ac:cxnSpMkLst>
            <pc:docMk/>
            <pc:sldMk cId="2827051956" sldId="702"/>
            <ac:cxnSpMk id="18" creationId="{81B6D918-9BFF-3F76-7017-ABBC3F581DC2}"/>
          </ac:cxnSpMkLst>
        </pc:cxnChg>
        <pc:cxnChg chg="add mod">
          <ac:chgData name="Alexandre Mercier" userId="b4fbace6-72ad-4592-b27d-535191bf0bec" providerId="ADAL" clId="{43491469-63E5-4AF4-A451-2151A57B2BCA}" dt="2023-05-17T00:42:10.529" v="944" actId="1076"/>
          <ac:cxnSpMkLst>
            <pc:docMk/>
            <pc:sldMk cId="2827051956" sldId="702"/>
            <ac:cxnSpMk id="20" creationId="{392BB4EF-A105-C3BF-D7D0-FF445E7AB294}"/>
          </ac:cxnSpMkLst>
        </pc:cxnChg>
        <pc:cxnChg chg="add mod">
          <ac:chgData name="Alexandre Mercier" userId="b4fbace6-72ad-4592-b27d-535191bf0bec" providerId="ADAL" clId="{43491469-63E5-4AF4-A451-2151A57B2BCA}" dt="2023-05-17T00:42:10.529" v="944" actId="1076"/>
          <ac:cxnSpMkLst>
            <pc:docMk/>
            <pc:sldMk cId="2827051956" sldId="702"/>
            <ac:cxnSpMk id="26" creationId="{429D46C1-00F5-282C-6200-FC96FD565D97}"/>
          </ac:cxnSpMkLst>
        </pc:cxnChg>
        <pc:cxnChg chg="add mod">
          <ac:chgData name="Alexandre Mercier" userId="b4fbace6-72ad-4592-b27d-535191bf0bec" providerId="ADAL" clId="{43491469-63E5-4AF4-A451-2151A57B2BCA}" dt="2023-05-17T00:42:10.529" v="944" actId="1076"/>
          <ac:cxnSpMkLst>
            <pc:docMk/>
            <pc:sldMk cId="2827051956" sldId="702"/>
            <ac:cxnSpMk id="34" creationId="{0004AD28-3DCD-9300-0C3B-1E70FC170351}"/>
          </ac:cxnSpMkLst>
        </pc:cxnChg>
        <pc:cxnChg chg="add mod">
          <ac:chgData name="Alexandre Mercier" userId="b4fbace6-72ad-4592-b27d-535191bf0bec" providerId="ADAL" clId="{43491469-63E5-4AF4-A451-2151A57B2BCA}" dt="2023-05-17T00:42:10.529" v="944" actId="1076"/>
          <ac:cxnSpMkLst>
            <pc:docMk/>
            <pc:sldMk cId="2827051956" sldId="702"/>
            <ac:cxnSpMk id="46" creationId="{6D8B96C2-9EE1-55CB-9512-F096F01D1089}"/>
          </ac:cxnSpMkLst>
        </pc:cxnChg>
      </pc:sldChg>
      <pc:sldChg chg="addSp delSp modSp new mod modNotesTx">
        <pc:chgData name="Alexandre Mercier" userId="b4fbace6-72ad-4592-b27d-535191bf0bec" providerId="ADAL" clId="{43491469-63E5-4AF4-A451-2151A57B2BCA}" dt="2023-05-17T13:25:00.448" v="2716" actId="20577"/>
        <pc:sldMkLst>
          <pc:docMk/>
          <pc:sldMk cId="3494066010" sldId="703"/>
        </pc:sldMkLst>
        <pc:spChg chg="mod">
          <ac:chgData name="Alexandre Mercier" userId="b4fbace6-72ad-4592-b27d-535191bf0bec" providerId="ADAL" clId="{43491469-63E5-4AF4-A451-2151A57B2BCA}" dt="2023-05-17T00:42:25.740" v="955" actId="20577"/>
          <ac:spMkLst>
            <pc:docMk/>
            <pc:sldMk cId="3494066010" sldId="703"/>
            <ac:spMk id="2" creationId="{46E6141E-53A8-BCAC-C1F8-966D5A59C470}"/>
          </ac:spMkLst>
        </pc:spChg>
        <pc:spChg chg="add del mod">
          <ac:chgData name="Alexandre Mercier" userId="b4fbace6-72ad-4592-b27d-535191bf0bec" providerId="ADAL" clId="{43491469-63E5-4AF4-A451-2151A57B2BCA}" dt="2023-05-17T09:51:57.349" v="1622" actId="478"/>
          <ac:spMkLst>
            <pc:docMk/>
            <pc:sldMk cId="3494066010" sldId="703"/>
            <ac:spMk id="3" creationId="{182D4AC5-60DA-611B-4F50-3B594A3D0C3D}"/>
          </ac:spMkLst>
        </pc:spChg>
        <pc:spChg chg="del">
          <ac:chgData name="Alexandre Mercier" userId="b4fbace6-72ad-4592-b27d-535191bf0bec" providerId="ADAL" clId="{43491469-63E5-4AF4-A451-2151A57B2BCA}" dt="2023-05-17T00:42:35.949" v="956" actId="3680"/>
          <ac:spMkLst>
            <pc:docMk/>
            <pc:sldMk cId="3494066010" sldId="703"/>
            <ac:spMk id="3" creationId="{6C832DF5-83D6-DF90-CD73-44A6037BAF0C}"/>
          </ac:spMkLst>
        </pc:spChg>
        <pc:spChg chg="add del mod">
          <ac:chgData name="Alexandre Mercier" userId="b4fbace6-72ad-4592-b27d-535191bf0bec" providerId="ADAL" clId="{43491469-63E5-4AF4-A451-2151A57B2BCA}" dt="2023-05-17T09:51:56.350" v="1621" actId="478"/>
          <ac:spMkLst>
            <pc:docMk/>
            <pc:sldMk cId="3494066010" sldId="703"/>
            <ac:spMk id="8" creationId="{1463B576-6EC5-3DDE-4FA1-BE01C5FFAE1E}"/>
          </ac:spMkLst>
        </pc:spChg>
        <pc:spChg chg="add mod">
          <ac:chgData name="Alexandre Mercier" userId="b4fbace6-72ad-4592-b27d-535191bf0bec" providerId="ADAL" clId="{43491469-63E5-4AF4-A451-2151A57B2BCA}" dt="2023-05-17T13:25:00.448" v="2716" actId="20577"/>
          <ac:spMkLst>
            <pc:docMk/>
            <pc:sldMk cId="3494066010" sldId="703"/>
            <ac:spMk id="9" creationId="{A096F1DD-C259-2BAA-B693-923E540F0E3A}"/>
          </ac:spMkLst>
        </pc:spChg>
        <pc:graphicFrameChg chg="add mod ord modGraphic">
          <ac:chgData name="Alexandre Mercier" userId="b4fbace6-72ad-4592-b27d-535191bf0bec" providerId="ADAL" clId="{43491469-63E5-4AF4-A451-2151A57B2BCA}" dt="2023-05-17T13:23:32.044" v="2635" actId="20577"/>
          <ac:graphicFrameMkLst>
            <pc:docMk/>
            <pc:sldMk cId="3494066010" sldId="703"/>
            <ac:graphicFrameMk id="7" creationId="{353174E6-6237-DB4C-68B7-CB6EF2544F87}"/>
          </ac:graphicFrameMkLst>
        </pc:graphicFrameChg>
      </pc:sldChg>
      <pc:sldChg chg="addSp modSp new mod modNotesTx">
        <pc:chgData name="Alexandre Mercier" userId="b4fbace6-72ad-4592-b27d-535191bf0bec" providerId="ADAL" clId="{43491469-63E5-4AF4-A451-2151A57B2BCA}" dt="2023-05-26T09:59:31.856" v="46596" actId="14100"/>
        <pc:sldMkLst>
          <pc:docMk/>
          <pc:sldMk cId="3921475878" sldId="704"/>
        </pc:sldMkLst>
        <pc:spChg chg="mod">
          <ac:chgData name="Alexandre Mercier" userId="b4fbace6-72ad-4592-b27d-535191bf0bec" providerId="ADAL" clId="{43491469-63E5-4AF4-A451-2151A57B2BCA}" dt="2023-05-17T09:51:45.148" v="1608" actId="20577"/>
          <ac:spMkLst>
            <pc:docMk/>
            <pc:sldMk cId="3921475878" sldId="704"/>
            <ac:spMk id="2" creationId="{F6BC011C-B5B2-7D6E-6BA4-774C57C13EB5}"/>
          </ac:spMkLst>
        </pc:spChg>
        <pc:spChg chg="mod">
          <ac:chgData name="Alexandre Mercier" userId="b4fbace6-72ad-4592-b27d-535191bf0bec" providerId="ADAL" clId="{43491469-63E5-4AF4-A451-2151A57B2BCA}" dt="2023-05-26T09:59:25.664" v="46595" actId="27636"/>
          <ac:spMkLst>
            <pc:docMk/>
            <pc:sldMk cId="3921475878" sldId="704"/>
            <ac:spMk id="3" creationId="{927FA977-8671-3A62-1A67-E68F2D50F5FB}"/>
          </ac:spMkLst>
        </pc:spChg>
        <pc:spChg chg="add mod ord">
          <ac:chgData name="Alexandre Mercier" userId="b4fbace6-72ad-4592-b27d-535191bf0bec" providerId="ADAL" clId="{43491469-63E5-4AF4-A451-2151A57B2BCA}" dt="2023-05-26T09:59:31.856" v="46596" actId="14100"/>
          <ac:spMkLst>
            <pc:docMk/>
            <pc:sldMk cId="3921475878" sldId="704"/>
            <ac:spMk id="7" creationId="{D27576DF-AC41-446B-1679-17D5A5B1BE46}"/>
          </ac:spMkLst>
        </pc:spChg>
        <pc:spChg chg="add mod">
          <ac:chgData name="Alexandre Mercier" userId="b4fbace6-72ad-4592-b27d-535191bf0bec" providerId="ADAL" clId="{43491469-63E5-4AF4-A451-2151A57B2BCA}" dt="2023-05-25T09:38:53.591" v="43946" actId="20577"/>
          <ac:spMkLst>
            <pc:docMk/>
            <pc:sldMk cId="3921475878" sldId="704"/>
            <ac:spMk id="8" creationId="{F9A3A31E-C627-93F1-832A-E4E04873D1CF}"/>
          </ac:spMkLst>
        </pc:spChg>
        <pc:spChg chg="add mod">
          <ac:chgData name="Alexandre Mercier" userId="b4fbace6-72ad-4592-b27d-535191bf0bec" providerId="ADAL" clId="{43491469-63E5-4AF4-A451-2151A57B2BCA}" dt="2023-05-26T09:58:06.425" v="46581" actId="207"/>
          <ac:spMkLst>
            <pc:docMk/>
            <pc:sldMk cId="3921475878" sldId="704"/>
            <ac:spMk id="9" creationId="{A98C23DB-130E-908F-3881-E3A6D02EA1B8}"/>
          </ac:spMkLst>
        </pc:spChg>
        <pc:spChg chg="mod">
          <ac:chgData name="Alexandre Mercier" userId="b4fbace6-72ad-4592-b27d-535191bf0bec" providerId="ADAL" clId="{43491469-63E5-4AF4-A451-2151A57B2BCA}" dt="2023-05-17T11:20:38.255" v="2084"/>
          <ac:spMkLst>
            <pc:docMk/>
            <pc:sldMk cId="3921475878" sldId="704"/>
            <ac:spMk id="11" creationId="{10459EB4-2A6C-618D-9F60-91B822206C57}"/>
          </ac:spMkLst>
        </pc:spChg>
        <pc:spChg chg="mod">
          <ac:chgData name="Alexandre Mercier" userId="b4fbace6-72ad-4592-b27d-535191bf0bec" providerId="ADAL" clId="{43491469-63E5-4AF4-A451-2151A57B2BCA}" dt="2023-05-17T11:20:38.255" v="2084"/>
          <ac:spMkLst>
            <pc:docMk/>
            <pc:sldMk cId="3921475878" sldId="704"/>
            <ac:spMk id="12" creationId="{7211B3E2-0975-47E3-019E-6E37D2D3C338}"/>
          </ac:spMkLst>
        </pc:spChg>
        <pc:spChg chg="mod">
          <ac:chgData name="Alexandre Mercier" userId="b4fbace6-72ad-4592-b27d-535191bf0bec" providerId="ADAL" clId="{43491469-63E5-4AF4-A451-2151A57B2BCA}" dt="2023-05-17T11:21:11.188" v="2091"/>
          <ac:spMkLst>
            <pc:docMk/>
            <pc:sldMk cId="3921475878" sldId="704"/>
            <ac:spMk id="14" creationId="{3DB31666-27CA-4C2A-5B20-050AF4C53873}"/>
          </ac:spMkLst>
        </pc:spChg>
        <pc:spChg chg="mod">
          <ac:chgData name="Alexandre Mercier" userId="b4fbace6-72ad-4592-b27d-535191bf0bec" providerId="ADAL" clId="{43491469-63E5-4AF4-A451-2151A57B2BCA}" dt="2023-05-17T11:21:11.188" v="2091"/>
          <ac:spMkLst>
            <pc:docMk/>
            <pc:sldMk cId="3921475878" sldId="704"/>
            <ac:spMk id="15" creationId="{0D5F45B4-644E-6569-5AFF-C806E803B02B}"/>
          </ac:spMkLst>
        </pc:spChg>
        <pc:spChg chg="mod">
          <ac:chgData name="Alexandre Mercier" userId="b4fbace6-72ad-4592-b27d-535191bf0bec" providerId="ADAL" clId="{43491469-63E5-4AF4-A451-2151A57B2BCA}" dt="2023-05-17T11:21:11.188" v="2091"/>
          <ac:spMkLst>
            <pc:docMk/>
            <pc:sldMk cId="3921475878" sldId="704"/>
            <ac:spMk id="16" creationId="{3E951A51-7B4F-C10E-9398-EFADB481FF8F}"/>
          </ac:spMkLst>
        </pc:spChg>
        <pc:grpChg chg="add mod">
          <ac:chgData name="Alexandre Mercier" userId="b4fbace6-72ad-4592-b27d-535191bf0bec" providerId="ADAL" clId="{43491469-63E5-4AF4-A451-2151A57B2BCA}" dt="2023-05-17T11:21:03.724" v="2090" actId="1076"/>
          <ac:grpSpMkLst>
            <pc:docMk/>
            <pc:sldMk cId="3921475878" sldId="704"/>
            <ac:grpSpMk id="10" creationId="{79867B57-42E7-8AE8-229B-663B963E40F0}"/>
          </ac:grpSpMkLst>
        </pc:grpChg>
        <pc:grpChg chg="add mod">
          <ac:chgData name="Alexandre Mercier" userId="b4fbace6-72ad-4592-b27d-535191bf0bec" providerId="ADAL" clId="{43491469-63E5-4AF4-A451-2151A57B2BCA}" dt="2023-05-17T11:21:25.115" v="2094" actId="1076"/>
          <ac:grpSpMkLst>
            <pc:docMk/>
            <pc:sldMk cId="3921475878" sldId="704"/>
            <ac:grpSpMk id="13" creationId="{91DF30F0-DDBA-8E1F-8872-B2DCF3C5D364}"/>
          </ac:grpSpMkLst>
        </pc:grpChg>
      </pc:sldChg>
      <pc:sldChg chg="modSp new mod">
        <pc:chgData name="Alexandre Mercier" userId="b4fbace6-72ad-4592-b27d-535191bf0bec" providerId="ADAL" clId="{43491469-63E5-4AF4-A451-2151A57B2BCA}" dt="2023-05-25T09:15:16.594" v="42191" actId="27636"/>
        <pc:sldMkLst>
          <pc:docMk/>
          <pc:sldMk cId="1209992595" sldId="705"/>
        </pc:sldMkLst>
        <pc:spChg chg="mod">
          <ac:chgData name="Alexandre Mercier" userId="b4fbace6-72ad-4592-b27d-535191bf0bec" providerId="ADAL" clId="{43491469-63E5-4AF4-A451-2151A57B2BCA}" dt="2023-05-17T12:31:40.780" v="2570" actId="20577"/>
          <ac:spMkLst>
            <pc:docMk/>
            <pc:sldMk cId="1209992595" sldId="705"/>
            <ac:spMk id="2" creationId="{5BE6ABE7-2D53-3AD3-7B92-4E71817306A3}"/>
          </ac:spMkLst>
        </pc:spChg>
        <pc:spChg chg="mod">
          <ac:chgData name="Alexandre Mercier" userId="b4fbace6-72ad-4592-b27d-535191bf0bec" providerId="ADAL" clId="{43491469-63E5-4AF4-A451-2151A57B2BCA}" dt="2023-05-25T09:15:16.594" v="42191" actId="27636"/>
          <ac:spMkLst>
            <pc:docMk/>
            <pc:sldMk cId="1209992595" sldId="705"/>
            <ac:spMk id="3" creationId="{51335D28-412D-D41C-BDB0-1AAC4C9F9D7D}"/>
          </ac:spMkLst>
        </pc:spChg>
      </pc:sldChg>
      <pc:sldChg chg="addSp modSp new mod modNotesTx">
        <pc:chgData name="Alexandre Mercier" userId="b4fbace6-72ad-4592-b27d-535191bf0bec" providerId="ADAL" clId="{43491469-63E5-4AF4-A451-2151A57B2BCA}" dt="2023-05-25T09:52:22.249" v="44221" actId="20577"/>
        <pc:sldMkLst>
          <pc:docMk/>
          <pc:sldMk cId="1903782788" sldId="706"/>
        </pc:sldMkLst>
        <pc:spChg chg="mod">
          <ac:chgData name="Alexandre Mercier" userId="b4fbace6-72ad-4592-b27d-535191bf0bec" providerId="ADAL" clId="{43491469-63E5-4AF4-A451-2151A57B2BCA}" dt="2023-05-22T13:00:10.711" v="2916" actId="20577"/>
          <ac:spMkLst>
            <pc:docMk/>
            <pc:sldMk cId="1903782788" sldId="706"/>
            <ac:spMk id="2" creationId="{7867FC6D-2EA7-A489-B005-D72FDCE5350A}"/>
          </ac:spMkLst>
        </pc:spChg>
        <pc:spChg chg="mod">
          <ac:chgData name="Alexandre Mercier" userId="b4fbace6-72ad-4592-b27d-535191bf0bec" providerId="ADAL" clId="{43491469-63E5-4AF4-A451-2151A57B2BCA}" dt="2023-05-22T13:06:50.403" v="3196" actId="403"/>
          <ac:spMkLst>
            <pc:docMk/>
            <pc:sldMk cId="1903782788" sldId="706"/>
            <ac:spMk id="3" creationId="{2A6406F2-28F0-A47D-B1C2-B2A9699D4355}"/>
          </ac:spMkLst>
        </pc:spChg>
        <pc:spChg chg="add mod">
          <ac:chgData name="Alexandre Mercier" userId="b4fbace6-72ad-4592-b27d-535191bf0bec" providerId="ADAL" clId="{43491469-63E5-4AF4-A451-2151A57B2BCA}" dt="2023-05-22T13:13:32.425" v="3285" actId="1076"/>
          <ac:spMkLst>
            <pc:docMk/>
            <pc:sldMk cId="1903782788" sldId="706"/>
            <ac:spMk id="8" creationId="{EF241B9D-1B63-EB59-BBE9-66FBAE61AED5}"/>
          </ac:spMkLst>
        </pc:spChg>
        <pc:spChg chg="add mod">
          <ac:chgData name="Alexandre Mercier" userId="b4fbace6-72ad-4592-b27d-535191bf0bec" providerId="ADAL" clId="{43491469-63E5-4AF4-A451-2151A57B2BCA}" dt="2023-05-22T13:13:32.425" v="3285" actId="1076"/>
          <ac:spMkLst>
            <pc:docMk/>
            <pc:sldMk cId="1903782788" sldId="706"/>
            <ac:spMk id="9" creationId="{F45CF52E-30FB-1802-460C-093A82565AF7}"/>
          </ac:spMkLst>
        </pc:spChg>
        <pc:graphicFrameChg chg="add mod modGraphic">
          <ac:chgData name="Alexandre Mercier" userId="b4fbace6-72ad-4592-b27d-535191bf0bec" providerId="ADAL" clId="{43491469-63E5-4AF4-A451-2151A57B2BCA}" dt="2023-05-22T13:13:32.425" v="3285" actId="1076"/>
          <ac:graphicFrameMkLst>
            <pc:docMk/>
            <pc:sldMk cId="1903782788" sldId="706"/>
            <ac:graphicFrameMk id="7" creationId="{BFD763D6-13C7-5324-C22F-5E736F06E082}"/>
          </ac:graphicFrameMkLst>
        </pc:graphicFrameChg>
      </pc:sldChg>
      <pc:sldChg chg="modSp add del mod modAnim">
        <pc:chgData name="Alexandre Mercier" userId="b4fbace6-72ad-4592-b27d-535191bf0bec" providerId="ADAL" clId="{43491469-63E5-4AF4-A451-2151A57B2BCA}" dt="2023-05-22T13:52:48.161" v="3400" actId="47"/>
        <pc:sldMkLst>
          <pc:docMk/>
          <pc:sldMk cId="2093561685" sldId="707"/>
        </pc:sldMkLst>
        <pc:spChg chg="mod">
          <ac:chgData name="Alexandre Mercier" userId="b4fbace6-72ad-4592-b27d-535191bf0bec" providerId="ADAL" clId="{43491469-63E5-4AF4-A451-2151A57B2BCA}" dt="2023-05-22T13:21:07.952" v="3302" actId="1076"/>
          <ac:spMkLst>
            <pc:docMk/>
            <pc:sldMk cId="2093561685" sldId="707"/>
            <ac:spMk id="3" creationId="{2A6406F2-28F0-A47D-B1C2-B2A9699D4355}"/>
          </ac:spMkLst>
        </pc:spChg>
        <pc:graphicFrameChg chg="modGraphic">
          <ac:chgData name="Alexandre Mercier" userId="b4fbace6-72ad-4592-b27d-535191bf0bec" providerId="ADAL" clId="{43491469-63E5-4AF4-A451-2151A57B2BCA}" dt="2023-05-22T13:35:08.489" v="3343" actId="14100"/>
          <ac:graphicFrameMkLst>
            <pc:docMk/>
            <pc:sldMk cId="2093561685" sldId="707"/>
            <ac:graphicFrameMk id="7" creationId="{BFD763D6-13C7-5324-C22F-5E736F06E082}"/>
          </ac:graphicFrameMkLst>
        </pc:graphicFrameChg>
      </pc:sldChg>
      <pc:sldChg chg="addSp delSp modSp add mod ord modAnim modNotesTx">
        <pc:chgData name="Alexandre Mercier" userId="b4fbace6-72ad-4592-b27d-535191bf0bec" providerId="ADAL" clId="{43491469-63E5-4AF4-A451-2151A57B2BCA}" dt="2023-05-26T10:30:48.750" v="46848" actId="20577"/>
        <pc:sldMkLst>
          <pc:docMk/>
          <pc:sldMk cId="4049337867" sldId="708"/>
        </pc:sldMkLst>
        <pc:spChg chg="mod">
          <ac:chgData name="Alexandre Mercier" userId="b4fbace6-72ad-4592-b27d-535191bf0bec" providerId="ADAL" clId="{43491469-63E5-4AF4-A451-2151A57B2BCA}" dt="2023-05-25T09:46:58.351" v="43990" actId="14100"/>
          <ac:spMkLst>
            <pc:docMk/>
            <pc:sldMk cId="4049337867" sldId="708"/>
            <ac:spMk id="3" creationId="{2A6406F2-28F0-A47D-B1C2-B2A9699D4355}"/>
          </ac:spMkLst>
        </pc:spChg>
        <pc:spChg chg="mod">
          <ac:chgData name="Alexandre Mercier" userId="b4fbace6-72ad-4592-b27d-535191bf0bec" providerId="ADAL" clId="{43491469-63E5-4AF4-A451-2151A57B2BCA}" dt="2023-05-22T13:51:07.650" v="3393" actId="1076"/>
          <ac:spMkLst>
            <pc:docMk/>
            <pc:sldMk cId="4049337867" sldId="708"/>
            <ac:spMk id="5" creationId="{46EA5B61-D1AA-E83C-9499-874B01C4E2EA}"/>
          </ac:spMkLst>
        </pc:spChg>
        <pc:spChg chg="del mod">
          <ac:chgData name="Alexandre Mercier" userId="b4fbace6-72ad-4592-b27d-535191bf0bec" providerId="ADAL" clId="{43491469-63E5-4AF4-A451-2151A57B2BCA}" dt="2023-05-22T13:51:02.477" v="3391" actId="478"/>
          <ac:spMkLst>
            <pc:docMk/>
            <pc:sldMk cId="4049337867" sldId="708"/>
            <ac:spMk id="8" creationId="{EF241B9D-1B63-EB59-BBE9-66FBAE61AED5}"/>
          </ac:spMkLst>
        </pc:spChg>
        <pc:spChg chg="del mod">
          <ac:chgData name="Alexandre Mercier" userId="b4fbace6-72ad-4592-b27d-535191bf0bec" providerId="ADAL" clId="{43491469-63E5-4AF4-A451-2151A57B2BCA}" dt="2023-05-22T13:51:00.020" v="3390" actId="478"/>
          <ac:spMkLst>
            <pc:docMk/>
            <pc:sldMk cId="4049337867" sldId="708"/>
            <ac:spMk id="9" creationId="{F45CF52E-30FB-1802-460C-093A82565AF7}"/>
          </ac:spMkLst>
        </pc:spChg>
        <pc:spChg chg="add mod">
          <ac:chgData name="Alexandre Mercier" userId="b4fbace6-72ad-4592-b27d-535191bf0bec" providerId="ADAL" clId="{43491469-63E5-4AF4-A451-2151A57B2BCA}" dt="2023-05-22T13:46:18.410" v="3367"/>
          <ac:spMkLst>
            <pc:docMk/>
            <pc:sldMk cId="4049337867" sldId="708"/>
            <ac:spMk id="11" creationId="{F1189F9D-F300-EA65-58CC-95D588887FC9}"/>
          </ac:spMkLst>
        </pc:spChg>
        <pc:spChg chg="add mod">
          <ac:chgData name="Alexandre Mercier" userId="b4fbace6-72ad-4592-b27d-535191bf0bec" providerId="ADAL" clId="{43491469-63E5-4AF4-A451-2151A57B2BCA}" dt="2023-05-22T13:46:18.410" v="3367"/>
          <ac:spMkLst>
            <pc:docMk/>
            <pc:sldMk cId="4049337867" sldId="708"/>
            <ac:spMk id="12" creationId="{D1D337B3-B2A2-6736-0270-FEDDDC5CDC37}"/>
          </ac:spMkLst>
        </pc:spChg>
        <pc:spChg chg="add mod">
          <ac:chgData name="Alexandre Mercier" userId="b4fbace6-72ad-4592-b27d-535191bf0bec" providerId="ADAL" clId="{43491469-63E5-4AF4-A451-2151A57B2BCA}" dt="2023-05-26T10:30:48.750" v="46848" actId="20577"/>
          <ac:spMkLst>
            <pc:docMk/>
            <pc:sldMk cId="4049337867" sldId="708"/>
            <ac:spMk id="13" creationId="{2245C180-943F-0F20-1FB7-900316B15D63}"/>
          </ac:spMkLst>
        </pc:spChg>
        <pc:graphicFrameChg chg="del mod modGraphic">
          <ac:chgData name="Alexandre Mercier" userId="b4fbace6-72ad-4592-b27d-535191bf0bec" providerId="ADAL" clId="{43491469-63E5-4AF4-A451-2151A57B2BCA}" dt="2023-05-22T13:51:06.372" v="3392" actId="478"/>
          <ac:graphicFrameMkLst>
            <pc:docMk/>
            <pc:sldMk cId="4049337867" sldId="708"/>
            <ac:graphicFrameMk id="7" creationId="{BFD763D6-13C7-5324-C22F-5E736F06E082}"/>
          </ac:graphicFrameMkLst>
        </pc:graphicFrameChg>
        <pc:graphicFrameChg chg="add mod ord">
          <ac:chgData name="Alexandre Mercier" userId="b4fbace6-72ad-4592-b27d-535191bf0bec" providerId="ADAL" clId="{43491469-63E5-4AF4-A451-2151A57B2BCA}" dt="2023-05-22T13:48:08.962" v="3373" actId="167"/>
          <ac:graphicFrameMkLst>
            <pc:docMk/>
            <pc:sldMk cId="4049337867" sldId="708"/>
            <ac:graphicFrameMk id="10" creationId="{E4FD7E6A-468B-8CC0-E8E9-74599B438187}"/>
          </ac:graphicFrameMkLst>
        </pc:graphicFrameChg>
      </pc:sldChg>
      <pc:sldChg chg="modSp new mod modNotesTx">
        <pc:chgData name="Alexandre Mercier" userId="b4fbace6-72ad-4592-b27d-535191bf0bec" providerId="ADAL" clId="{43491469-63E5-4AF4-A451-2151A57B2BCA}" dt="2023-05-25T12:09:43.251" v="46484" actId="20577"/>
        <pc:sldMkLst>
          <pc:docMk/>
          <pc:sldMk cId="154362926" sldId="709"/>
        </pc:sldMkLst>
        <pc:spChg chg="mod">
          <ac:chgData name="Alexandre Mercier" userId="b4fbace6-72ad-4592-b27d-535191bf0bec" providerId="ADAL" clId="{43491469-63E5-4AF4-A451-2151A57B2BCA}" dt="2023-05-22T14:31:43.695" v="3742" actId="20577"/>
          <ac:spMkLst>
            <pc:docMk/>
            <pc:sldMk cId="154362926" sldId="709"/>
            <ac:spMk id="2" creationId="{F9274502-18A1-E7CB-8657-43A1B08DEFF7}"/>
          </ac:spMkLst>
        </pc:spChg>
        <pc:spChg chg="mod">
          <ac:chgData name="Alexandre Mercier" userId="b4fbace6-72ad-4592-b27d-535191bf0bec" providerId="ADAL" clId="{43491469-63E5-4AF4-A451-2151A57B2BCA}" dt="2023-05-25T12:09:10.572" v="46467" actId="20577"/>
          <ac:spMkLst>
            <pc:docMk/>
            <pc:sldMk cId="154362926" sldId="709"/>
            <ac:spMk id="3" creationId="{90ED709F-ACAD-B1F7-6A76-D3912B5BE3F8}"/>
          </ac:spMkLst>
        </pc:spChg>
      </pc:sldChg>
      <pc:sldChg chg="addSp delSp modSp new mod modNotesTx">
        <pc:chgData name="Alexandre Mercier" userId="b4fbace6-72ad-4592-b27d-535191bf0bec" providerId="ADAL" clId="{43491469-63E5-4AF4-A451-2151A57B2BCA}" dt="2023-05-26T10:29:26.902" v="46833" actId="20577"/>
        <pc:sldMkLst>
          <pc:docMk/>
          <pc:sldMk cId="3628235120" sldId="710"/>
        </pc:sldMkLst>
        <pc:spChg chg="mod">
          <ac:chgData name="Alexandre Mercier" userId="b4fbace6-72ad-4592-b27d-535191bf0bec" providerId="ADAL" clId="{43491469-63E5-4AF4-A451-2151A57B2BCA}" dt="2023-05-22T14:50:21.565" v="4244" actId="20577"/>
          <ac:spMkLst>
            <pc:docMk/>
            <pc:sldMk cId="3628235120" sldId="710"/>
            <ac:spMk id="2" creationId="{69DF56A6-590C-9AE4-8883-23E91F0C4A92}"/>
          </ac:spMkLst>
        </pc:spChg>
        <pc:spChg chg="del">
          <ac:chgData name="Alexandre Mercier" userId="b4fbace6-72ad-4592-b27d-535191bf0bec" providerId="ADAL" clId="{43491469-63E5-4AF4-A451-2151A57B2BCA}" dt="2023-05-23T15:43:28.584" v="41502" actId="478"/>
          <ac:spMkLst>
            <pc:docMk/>
            <pc:sldMk cId="3628235120" sldId="710"/>
            <ac:spMk id="3" creationId="{60E69E81-D1C8-8B37-A581-6D8985585B72}"/>
          </ac:spMkLst>
        </pc:spChg>
        <pc:spChg chg="add mod">
          <ac:chgData name="Alexandre Mercier" userId="b4fbace6-72ad-4592-b27d-535191bf0bec" providerId="ADAL" clId="{43491469-63E5-4AF4-A451-2151A57B2BCA}" dt="2023-05-26T09:57:50.479" v="46580" actId="14100"/>
          <ac:spMkLst>
            <pc:docMk/>
            <pc:sldMk cId="3628235120" sldId="710"/>
            <ac:spMk id="7" creationId="{0571E61B-C0EC-2A06-6B36-E772DC6F05C4}"/>
          </ac:spMkLst>
        </pc:spChg>
      </pc:sldChg>
      <pc:sldChg chg="addSp delSp modSp new mod ord modAnim modNotesTx">
        <pc:chgData name="Alexandre Mercier" userId="b4fbace6-72ad-4592-b27d-535191bf0bec" providerId="ADAL" clId="{43491469-63E5-4AF4-A451-2151A57B2BCA}" dt="2023-05-25T11:57:57.965" v="46268" actId="14100"/>
        <pc:sldMkLst>
          <pc:docMk/>
          <pc:sldMk cId="2567454170" sldId="711"/>
        </pc:sldMkLst>
        <pc:spChg chg="mod">
          <ac:chgData name="Alexandre Mercier" userId="b4fbace6-72ad-4592-b27d-535191bf0bec" providerId="ADAL" clId="{43491469-63E5-4AF4-A451-2151A57B2BCA}" dt="2023-05-22T14:50:55.852" v="4255" actId="20577"/>
          <ac:spMkLst>
            <pc:docMk/>
            <pc:sldMk cId="2567454170" sldId="711"/>
            <ac:spMk id="2" creationId="{D700327C-ACB4-4F2C-1785-B1478A953EF1}"/>
          </ac:spMkLst>
        </pc:spChg>
        <pc:spChg chg="mod">
          <ac:chgData name="Alexandre Mercier" userId="b4fbace6-72ad-4592-b27d-535191bf0bec" providerId="ADAL" clId="{43491469-63E5-4AF4-A451-2151A57B2BCA}" dt="2023-05-22T14:52:59.287" v="4321" actId="1076"/>
          <ac:spMkLst>
            <pc:docMk/>
            <pc:sldMk cId="2567454170" sldId="711"/>
            <ac:spMk id="3" creationId="{E70752D3-AE9C-9346-86CF-3BD01EB0F667}"/>
          </ac:spMkLst>
        </pc:spChg>
        <pc:spChg chg="add del mod">
          <ac:chgData name="Alexandre Mercier" userId="b4fbace6-72ad-4592-b27d-535191bf0bec" providerId="ADAL" clId="{43491469-63E5-4AF4-A451-2151A57B2BCA}" dt="2023-05-22T14:58:48.878" v="4444" actId="478"/>
          <ac:spMkLst>
            <pc:docMk/>
            <pc:sldMk cId="2567454170" sldId="711"/>
            <ac:spMk id="7" creationId="{C79AC2A6-350F-FD64-8661-33A9A9A182E3}"/>
          </ac:spMkLst>
        </pc:spChg>
        <pc:spChg chg="add del mod">
          <ac:chgData name="Alexandre Mercier" userId="b4fbace6-72ad-4592-b27d-535191bf0bec" providerId="ADAL" clId="{43491469-63E5-4AF4-A451-2151A57B2BCA}" dt="2023-05-23T15:17:50.945" v="41160" actId="478"/>
          <ac:spMkLst>
            <pc:docMk/>
            <pc:sldMk cId="2567454170" sldId="711"/>
            <ac:spMk id="7" creationId="{F9C9D6C9-8C4C-5968-85C7-9D76117F589A}"/>
          </ac:spMkLst>
        </pc:spChg>
        <pc:spChg chg="add del mod">
          <ac:chgData name="Alexandre Mercier" userId="b4fbace6-72ad-4592-b27d-535191bf0bec" providerId="ADAL" clId="{43491469-63E5-4AF4-A451-2151A57B2BCA}" dt="2023-05-22T14:58:23.216" v="4437" actId="478"/>
          <ac:spMkLst>
            <pc:docMk/>
            <pc:sldMk cId="2567454170" sldId="711"/>
            <ac:spMk id="8" creationId="{34CE190C-ACE9-DDEE-BD7C-3018B1A6EA97}"/>
          </ac:spMkLst>
        </pc:spChg>
        <pc:spChg chg="add del mod">
          <ac:chgData name="Alexandre Mercier" userId="b4fbace6-72ad-4592-b27d-535191bf0bec" providerId="ADAL" clId="{43491469-63E5-4AF4-A451-2151A57B2BCA}" dt="2023-05-22T14:53:06.367" v="4326"/>
          <ac:spMkLst>
            <pc:docMk/>
            <pc:sldMk cId="2567454170" sldId="711"/>
            <ac:spMk id="9" creationId="{1E3D333F-A4F5-0E7F-0F51-DEE2276F8F00}"/>
          </ac:spMkLst>
        </pc:spChg>
        <pc:spChg chg="add del mod">
          <ac:chgData name="Alexandre Mercier" userId="b4fbace6-72ad-4592-b27d-535191bf0bec" providerId="ADAL" clId="{43491469-63E5-4AF4-A451-2151A57B2BCA}" dt="2023-05-22T14:53:06.066" v="4325"/>
          <ac:spMkLst>
            <pc:docMk/>
            <pc:sldMk cId="2567454170" sldId="711"/>
            <ac:spMk id="10" creationId="{A08C322C-FD99-17A9-6BE1-4D9A4395D963}"/>
          </ac:spMkLst>
        </pc:spChg>
        <pc:spChg chg="add mod">
          <ac:chgData name="Alexandre Mercier" userId="b4fbace6-72ad-4592-b27d-535191bf0bec" providerId="ADAL" clId="{43491469-63E5-4AF4-A451-2151A57B2BCA}" dt="2023-05-23T15:25:34.385" v="41273" actId="164"/>
          <ac:spMkLst>
            <pc:docMk/>
            <pc:sldMk cId="2567454170" sldId="711"/>
            <ac:spMk id="14" creationId="{E62177AD-9C06-19C1-5B5B-E940D4E34A02}"/>
          </ac:spMkLst>
        </pc:spChg>
        <pc:spChg chg="add mod">
          <ac:chgData name="Alexandre Mercier" userId="b4fbace6-72ad-4592-b27d-535191bf0bec" providerId="ADAL" clId="{43491469-63E5-4AF4-A451-2151A57B2BCA}" dt="2023-05-22T15:02:41.940" v="4594" actId="1076"/>
          <ac:spMkLst>
            <pc:docMk/>
            <pc:sldMk cId="2567454170" sldId="711"/>
            <ac:spMk id="17" creationId="{62A78515-3FA6-5A0B-2565-1FD148C645B9}"/>
          </ac:spMkLst>
        </pc:spChg>
        <pc:spChg chg="add del mod">
          <ac:chgData name="Alexandre Mercier" userId="b4fbace6-72ad-4592-b27d-535191bf0bec" providerId="ADAL" clId="{43491469-63E5-4AF4-A451-2151A57B2BCA}" dt="2023-05-22T14:58:26.982" v="4439" actId="478"/>
          <ac:spMkLst>
            <pc:docMk/>
            <pc:sldMk cId="2567454170" sldId="711"/>
            <ac:spMk id="24" creationId="{40D84784-1DED-6CE8-FBC0-672336A67873}"/>
          </ac:spMkLst>
        </pc:spChg>
        <pc:spChg chg="add del">
          <ac:chgData name="Alexandre Mercier" userId="b4fbace6-72ad-4592-b27d-535191bf0bec" providerId="ADAL" clId="{43491469-63E5-4AF4-A451-2151A57B2BCA}" dt="2023-05-22T15:00:52.056" v="4533" actId="22"/>
          <ac:spMkLst>
            <pc:docMk/>
            <pc:sldMk cId="2567454170" sldId="711"/>
            <ac:spMk id="41" creationId="{61BADC30-060A-233C-AAB7-0512CA4E3215}"/>
          </ac:spMkLst>
        </pc:spChg>
        <pc:spChg chg="add del">
          <ac:chgData name="Alexandre Mercier" userId="b4fbace6-72ad-4592-b27d-535191bf0bec" providerId="ADAL" clId="{43491469-63E5-4AF4-A451-2151A57B2BCA}" dt="2023-05-22T15:00:55.213" v="4535" actId="22"/>
          <ac:spMkLst>
            <pc:docMk/>
            <pc:sldMk cId="2567454170" sldId="711"/>
            <ac:spMk id="43" creationId="{F1085D0B-6188-EA3F-DDDC-F898DAB6056E}"/>
          </ac:spMkLst>
        </pc:spChg>
        <pc:spChg chg="add mod">
          <ac:chgData name="Alexandre Mercier" userId="b4fbace6-72ad-4592-b27d-535191bf0bec" providerId="ADAL" clId="{43491469-63E5-4AF4-A451-2151A57B2BCA}" dt="2023-05-22T15:04:29.176" v="4615" actId="1076"/>
          <ac:spMkLst>
            <pc:docMk/>
            <pc:sldMk cId="2567454170" sldId="711"/>
            <ac:spMk id="47" creationId="{1E7A33F7-C922-6960-0224-B9F81823DBCC}"/>
          </ac:spMkLst>
        </pc:spChg>
        <pc:grpChg chg="add mod">
          <ac:chgData name="Alexandre Mercier" userId="b4fbace6-72ad-4592-b27d-535191bf0bec" providerId="ADAL" clId="{43491469-63E5-4AF4-A451-2151A57B2BCA}" dt="2023-05-23T15:25:41.390" v="41275" actId="14100"/>
          <ac:grpSpMkLst>
            <pc:docMk/>
            <pc:sldMk cId="2567454170" sldId="711"/>
            <ac:grpSpMk id="16" creationId="{5A42614D-72AA-59C3-4938-215435700E46}"/>
          </ac:grpSpMkLst>
        </pc:grpChg>
        <pc:graphicFrameChg chg="add mod modGraphic">
          <ac:chgData name="Alexandre Mercier" userId="b4fbace6-72ad-4592-b27d-535191bf0bec" providerId="ADAL" clId="{43491469-63E5-4AF4-A451-2151A57B2BCA}" dt="2023-05-23T15:27:45.386" v="41300" actId="14861"/>
          <ac:graphicFrameMkLst>
            <pc:docMk/>
            <pc:sldMk cId="2567454170" sldId="711"/>
            <ac:graphicFrameMk id="37" creationId="{49DEFDAD-C03D-5412-9734-84C056A7E71B}"/>
          </ac:graphicFrameMkLst>
        </pc:graphicFrameChg>
        <pc:graphicFrameChg chg="add mod modGraphic">
          <ac:chgData name="Alexandre Mercier" userId="b4fbace6-72ad-4592-b27d-535191bf0bec" providerId="ADAL" clId="{43491469-63E5-4AF4-A451-2151A57B2BCA}" dt="2023-05-23T15:27:33.839" v="41298" actId="14861"/>
          <ac:graphicFrameMkLst>
            <pc:docMk/>
            <pc:sldMk cId="2567454170" sldId="711"/>
            <ac:graphicFrameMk id="39" creationId="{A22A7829-49EA-036D-8323-E6B811F57577}"/>
          </ac:graphicFrameMkLst>
        </pc:graphicFrameChg>
        <pc:graphicFrameChg chg="add mod modGraphic">
          <ac:chgData name="Alexandre Mercier" userId="b4fbace6-72ad-4592-b27d-535191bf0bec" providerId="ADAL" clId="{43491469-63E5-4AF4-A451-2151A57B2BCA}" dt="2023-05-23T15:27:40.917" v="41299" actId="14861"/>
          <ac:graphicFrameMkLst>
            <pc:docMk/>
            <pc:sldMk cId="2567454170" sldId="711"/>
            <ac:graphicFrameMk id="44" creationId="{692F591D-137F-705A-8BF6-3B793B5D1BC8}"/>
          </ac:graphicFrameMkLst>
        </pc:graphicFrameChg>
        <pc:picChg chg="add del mod">
          <ac:chgData name="Alexandre Mercier" userId="b4fbace6-72ad-4592-b27d-535191bf0bec" providerId="ADAL" clId="{43491469-63E5-4AF4-A451-2151A57B2BCA}" dt="2023-05-23T15:18:39.646" v="41166" actId="478"/>
          <ac:picMkLst>
            <pc:docMk/>
            <pc:sldMk cId="2567454170" sldId="711"/>
            <ac:picMk id="9" creationId="{F81ECBFA-5BB6-1759-6702-7ACE0D679B66}"/>
          </ac:picMkLst>
        </pc:picChg>
        <pc:picChg chg="add del mod">
          <ac:chgData name="Alexandre Mercier" userId="b4fbace6-72ad-4592-b27d-535191bf0bec" providerId="ADAL" clId="{43491469-63E5-4AF4-A451-2151A57B2BCA}" dt="2023-05-23T15:23:41.535" v="41177" actId="478"/>
          <ac:picMkLst>
            <pc:docMk/>
            <pc:sldMk cId="2567454170" sldId="711"/>
            <ac:picMk id="11" creationId="{1B793FC8-BAFF-4D83-10EA-4F2F07D187B1}"/>
          </ac:picMkLst>
        </pc:picChg>
        <pc:picChg chg="add mod">
          <ac:chgData name="Alexandre Mercier" userId="b4fbace6-72ad-4592-b27d-535191bf0bec" providerId="ADAL" clId="{43491469-63E5-4AF4-A451-2151A57B2BCA}" dt="2023-05-23T15:25:34.385" v="41273" actId="164"/>
          <ac:picMkLst>
            <pc:docMk/>
            <pc:sldMk cId="2567454170" sldId="711"/>
            <ac:picMk id="13" creationId="{3471DEA0-9B9F-F29F-9B83-B9BE7D7D7F3D}"/>
          </ac:picMkLst>
        </pc:picChg>
        <pc:cxnChg chg="add del mod">
          <ac:chgData name="Alexandre Mercier" userId="b4fbace6-72ad-4592-b27d-535191bf0bec" providerId="ADAL" clId="{43491469-63E5-4AF4-A451-2151A57B2BCA}" dt="2023-05-22T14:53:44.069" v="4339" actId="478"/>
          <ac:cxnSpMkLst>
            <pc:docMk/>
            <pc:sldMk cId="2567454170" sldId="711"/>
            <ac:cxnSpMk id="12" creationId="{B804C489-B4DD-12A5-5E9A-EC181EB9B20C}"/>
          </ac:cxnSpMkLst>
        </pc:cxnChg>
        <pc:cxnChg chg="add mod">
          <ac:chgData name="Alexandre Mercier" userId="b4fbace6-72ad-4592-b27d-535191bf0bec" providerId="ADAL" clId="{43491469-63E5-4AF4-A451-2151A57B2BCA}" dt="2023-05-23T15:26:03.341" v="41295" actId="692"/>
          <ac:cxnSpMkLst>
            <pc:docMk/>
            <pc:sldMk cId="2567454170" sldId="711"/>
            <ac:cxnSpMk id="15" creationId="{0887FAA3-4B90-BAA2-37DA-4624EBDB4A77}"/>
          </ac:cxnSpMkLst>
        </pc:cxnChg>
        <pc:cxnChg chg="add mod">
          <ac:chgData name="Alexandre Mercier" userId="b4fbace6-72ad-4592-b27d-535191bf0bec" providerId="ADAL" clId="{43491469-63E5-4AF4-A451-2151A57B2BCA}" dt="2023-05-23T15:26:10.304" v="41296" actId="14100"/>
          <ac:cxnSpMkLst>
            <pc:docMk/>
            <pc:sldMk cId="2567454170" sldId="711"/>
            <ac:cxnSpMk id="19" creationId="{F637BCD5-EF8F-1597-8EA3-D992FEBC86AB}"/>
          </ac:cxnSpMkLst>
        </pc:cxnChg>
        <pc:cxnChg chg="add mod">
          <ac:chgData name="Alexandre Mercier" userId="b4fbace6-72ad-4592-b27d-535191bf0bec" providerId="ADAL" clId="{43491469-63E5-4AF4-A451-2151A57B2BCA}" dt="2023-05-23T15:26:14.018" v="41297" actId="14100"/>
          <ac:cxnSpMkLst>
            <pc:docMk/>
            <pc:sldMk cId="2567454170" sldId="711"/>
            <ac:cxnSpMk id="21" creationId="{1FD30E25-19F8-8DF3-9D97-1D547B1BE4F8}"/>
          </ac:cxnSpMkLst>
        </pc:cxnChg>
        <pc:cxnChg chg="add del mod">
          <ac:chgData name="Alexandre Mercier" userId="b4fbace6-72ad-4592-b27d-535191bf0bec" providerId="ADAL" clId="{43491469-63E5-4AF4-A451-2151A57B2BCA}" dt="2023-05-22T14:57:18.022" v="4397" actId="478"/>
          <ac:cxnSpMkLst>
            <pc:docMk/>
            <pc:sldMk cId="2567454170" sldId="711"/>
            <ac:cxnSpMk id="29" creationId="{739A8DDF-14E8-3EF2-90B9-130081403A3D}"/>
          </ac:cxnSpMkLst>
        </pc:cxnChg>
        <pc:cxnChg chg="add mod">
          <ac:chgData name="Alexandre Mercier" userId="b4fbace6-72ad-4592-b27d-535191bf0bec" providerId="ADAL" clId="{43491469-63E5-4AF4-A451-2151A57B2BCA}" dt="2023-05-25T11:57:57.965" v="46268" actId="14100"/>
          <ac:cxnSpMkLst>
            <pc:docMk/>
            <pc:sldMk cId="2567454170" sldId="711"/>
            <ac:cxnSpMk id="46" creationId="{A5C08D8E-D998-7E19-4CAE-B9C758734DB4}"/>
          </ac:cxnSpMkLst>
        </pc:cxnChg>
      </pc:sldChg>
      <pc:sldChg chg="addSp delSp modSp new mod ord modAnim modNotesTx">
        <pc:chgData name="Alexandre Mercier" userId="b4fbace6-72ad-4592-b27d-535191bf0bec" providerId="ADAL" clId="{43491469-63E5-4AF4-A451-2151A57B2BCA}" dt="2023-05-23T13:56:07.138" v="40039" actId="20577"/>
        <pc:sldMkLst>
          <pc:docMk/>
          <pc:sldMk cId="3225642274" sldId="712"/>
        </pc:sldMkLst>
        <pc:spChg chg="mod">
          <ac:chgData name="Alexandre Mercier" userId="b4fbace6-72ad-4592-b27d-535191bf0bec" providerId="ADAL" clId="{43491469-63E5-4AF4-A451-2151A57B2BCA}" dt="2023-05-22T15:07:47.588" v="4642" actId="20577"/>
          <ac:spMkLst>
            <pc:docMk/>
            <pc:sldMk cId="3225642274" sldId="712"/>
            <ac:spMk id="2" creationId="{77BA5287-0C75-C217-41D5-E5FF8308C579}"/>
          </ac:spMkLst>
        </pc:spChg>
        <pc:spChg chg="mod">
          <ac:chgData name="Alexandre Mercier" userId="b4fbace6-72ad-4592-b27d-535191bf0bec" providerId="ADAL" clId="{43491469-63E5-4AF4-A451-2151A57B2BCA}" dt="2023-05-23T13:56:07.138" v="40039" actId="20577"/>
          <ac:spMkLst>
            <pc:docMk/>
            <pc:sldMk cId="3225642274" sldId="712"/>
            <ac:spMk id="3" creationId="{68464255-CA51-9F1C-F305-1277ECC0F4C4}"/>
          </ac:spMkLst>
        </pc:spChg>
        <pc:spChg chg="add del mod">
          <ac:chgData name="Alexandre Mercier" userId="b4fbace6-72ad-4592-b27d-535191bf0bec" providerId="ADAL" clId="{43491469-63E5-4AF4-A451-2151A57B2BCA}" dt="2023-05-22T15:23:05.559" v="4993" actId="478"/>
          <ac:spMkLst>
            <pc:docMk/>
            <pc:sldMk cId="3225642274" sldId="712"/>
            <ac:spMk id="8" creationId="{2A91A3FF-FCCD-62D8-C013-A12B7AF61872}"/>
          </ac:spMkLst>
        </pc:spChg>
        <pc:spChg chg="add mod">
          <ac:chgData name="Alexandre Mercier" userId="b4fbace6-72ad-4592-b27d-535191bf0bec" providerId="ADAL" clId="{43491469-63E5-4AF4-A451-2151A57B2BCA}" dt="2023-05-22T15:23:27.476" v="4996" actId="1076"/>
          <ac:spMkLst>
            <pc:docMk/>
            <pc:sldMk cId="3225642274" sldId="712"/>
            <ac:spMk id="9" creationId="{77FC442A-877B-F6DA-FA3F-3BA90D7BED92}"/>
          </ac:spMkLst>
        </pc:spChg>
        <pc:spChg chg="add mod">
          <ac:chgData name="Alexandre Mercier" userId="b4fbace6-72ad-4592-b27d-535191bf0bec" providerId="ADAL" clId="{43491469-63E5-4AF4-A451-2151A57B2BCA}" dt="2023-05-22T15:28:55.063" v="5052" actId="1076"/>
          <ac:spMkLst>
            <pc:docMk/>
            <pc:sldMk cId="3225642274" sldId="712"/>
            <ac:spMk id="10" creationId="{3F28A15B-7425-42E8-B4CD-E5A8143B1663}"/>
          </ac:spMkLst>
        </pc:spChg>
        <pc:spChg chg="add mod">
          <ac:chgData name="Alexandre Mercier" userId="b4fbace6-72ad-4592-b27d-535191bf0bec" providerId="ADAL" clId="{43491469-63E5-4AF4-A451-2151A57B2BCA}" dt="2023-05-22T15:30:51.367" v="5066" actId="20577"/>
          <ac:spMkLst>
            <pc:docMk/>
            <pc:sldMk cId="3225642274" sldId="712"/>
            <ac:spMk id="11" creationId="{81C20CFA-713C-FDB0-0200-7BE8148C8DE2}"/>
          </ac:spMkLst>
        </pc:spChg>
        <pc:spChg chg="add mod">
          <ac:chgData name="Alexandre Mercier" userId="b4fbace6-72ad-4592-b27d-535191bf0bec" providerId="ADAL" clId="{43491469-63E5-4AF4-A451-2151A57B2BCA}" dt="2023-05-22T15:28:55.063" v="5052" actId="1076"/>
          <ac:spMkLst>
            <pc:docMk/>
            <pc:sldMk cId="3225642274" sldId="712"/>
            <ac:spMk id="12" creationId="{0B2F346A-35C9-8C57-A550-1293806084EF}"/>
          </ac:spMkLst>
        </pc:spChg>
      </pc:sldChg>
      <pc:sldChg chg="addSp delSp modSp add mod modTransition modShow">
        <pc:chgData name="Alexandre Mercier" userId="b4fbace6-72ad-4592-b27d-535191bf0bec" providerId="ADAL" clId="{43491469-63E5-4AF4-A451-2151A57B2BCA}" dt="2023-05-25T09:19:48.759" v="43450" actId="207"/>
        <pc:sldMkLst>
          <pc:docMk/>
          <pc:sldMk cId="844873446" sldId="713"/>
        </pc:sldMkLst>
        <pc:spChg chg="mod ord">
          <ac:chgData name="Alexandre Mercier" userId="b4fbace6-72ad-4592-b27d-535191bf0bec" providerId="ADAL" clId="{43491469-63E5-4AF4-A451-2151A57B2BCA}" dt="2023-05-25T09:18:44.015" v="43403" actId="948"/>
          <ac:spMkLst>
            <pc:docMk/>
            <pc:sldMk cId="844873446" sldId="713"/>
            <ac:spMk id="2" creationId="{678DEAC3-016F-A6D6-2681-AA4F450936E1}"/>
          </ac:spMkLst>
        </pc:spChg>
        <pc:spChg chg="mod ord">
          <ac:chgData name="Alexandre Mercier" userId="b4fbace6-72ad-4592-b27d-535191bf0bec" providerId="ADAL" clId="{43491469-63E5-4AF4-A451-2151A57B2BCA}" dt="2023-05-25T09:18:19.057" v="43306"/>
          <ac:spMkLst>
            <pc:docMk/>
            <pc:sldMk cId="844873446" sldId="713"/>
            <ac:spMk id="4" creationId="{F6962698-F02A-D20E-2A20-9B002E01594B}"/>
          </ac:spMkLst>
        </pc:spChg>
        <pc:spChg chg="mod ord">
          <ac:chgData name="Alexandre Mercier" userId="b4fbace6-72ad-4592-b27d-535191bf0bec" providerId="ADAL" clId="{43491469-63E5-4AF4-A451-2151A57B2BCA}" dt="2023-05-25T09:18:19.057" v="43305"/>
          <ac:spMkLst>
            <pc:docMk/>
            <pc:sldMk cId="844873446" sldId="713"/>
            <ac:spMk id="5" creationId="{33FD094A-161E-03CD-FB89-D725CBB102DE}"/>
          </ac:spMkLst>
        </pc:spChg>
        <pc:spChg chg="mod ord">
          <ac:chgData name="Alexandre Mercier" userId="b4fbace6-72ad-4592-b27d-535191bf0bec" providerId="ADAL" clId="{43491469-63E5-4AF4-A451-2151A57B2BCA}" dt="2023-05-25T09:18:19.057" v="43304"/>
          <ac:spMkLst>
            <pc:docMk/>
            <pc:sldMk cId="844873446" sldId="713"/>
            <ac:spMk id="6" creationId="{0E17C28E-CB3C-5F79-754E-5B84E82B3DDA}"/>
          </ac:spMkLst>
        </pc:spChg>
        <pc:spChg chg="add del mod ord">
          <ac:chgData name="Alexandre Mercier" userId="b4fbace6-72ad-4592-b27d-535191bf0bec" providerId="ADAL" clId="{43491469-63E5-4AF4-A451-2151A57B2BCA}" dt="2023-05-23T10:57:37.046" v="23354" actId="478"/>
          <ac:spMkLst>
            <pc:docMk/>
            <pc:sldMk cId="844873446" sldId="713"/>
            <ac:spMk id="7" creationId="{EA6D56FD-FC54-D202-4B95-83717F4A4015}"/>
          </ac:spMkLst>
        </pc:spChg>
        <pc:spChg chg="add mod replST">
          <ac:chgData name="Alexandre Mercier" userId="b4fbace6-72ad-4592-b27d-535191bf0bec" providerId="ADAL" clId="{43491469-63E5-4AF4-A451-2151A57B2BCA}" dt="2023-05-25T09:18:44.015" v="43404"/>
          <ac:spMkLst>
            <pc:docMk/>
            <pc:sldMk cId="844873446" sldId="713"/>
            <ac:spMk id="9" creationId="{A5DE609B-C261-BA92-FF6D-D5C1F8D575F4}"/>
          </ac:spMkLst>
        </pc:spChg>
        <pc:spChg chg="add del mod modVis">
          <ac:chgData name="Alexandre Mercier" userId="b4fbace6-72ad-4592-b27d-535191bf0bec" providerId="ADAL" clId="{43491469-63E5-4AF4-A451-2151A57B2BCA}" dt="2023-05-23T10:49:32.566" v="6863"/>
          <ac:spMkLst>
            <pc:docMk/>
            <pc:sldMk cId="844873446" sldId="713"/>
            <ac:spMk id="10" creationId="{03EB2F21-F478-9F49-7711-FC91B0806688}"/>
          </ac:spMkLst>
        </pc:spChg>
        <pc:spChg chg="add del mod replST">
          <ac:chgData name="Alexandre Mercier" userId="b4fbace6-72ad-4592-b27d-535191bf0bec" providerId="ADAL" clId="{43491469-63E5-4AF4-A451-2151A57B2BCA}" dt="2023-05-23T10:57:42.799" v="23598"/>
          <ac:spMkLst>
            <pc:docMk/>
            <pc:sldMk cId="844873446" sldId="713"/>
            <ac:spMk id="11" creationId="{03C2BA0B-6594-2BD7-89EF-34ED80738954}"/>
          </ac:spMkLst>
        </pc:spChg>
        <pc:spChg chg="add mod replST">
          <ac:chgData name="Alexandre Mercier" userId="b4fbace6-72ad-4592-b27d-535191bf0bec" providerId="ADAL" clId="{43491469-63E5-4AF4-A451-2151A57B2BCA}" dt="2023-05-25T09:18:44.015" v="43405"/>
          <ac:spMkLst>
            <pc:docMk/>
            <pc:sldMk cId="844873446" sldId="713"/>
            <ac:spMk id="12" creationId="{69C1B020-7767-682A-2F27-7E56B6042B9A}"/>
          </ac:spMkLst>
        </pc:spChg>
        <pc:spChg chg="add del mod replST">
          <ac:chgData name="Alexandre Mercier" userId="b4fbace6-72ad-4592-b27d-535191bf0bec" providerId="ADAL" clId="{43491469-63E5-4AF4-A451-2151A57B2BCA}" dt="2023-05-23T10:58:17.750" v="24998"/>
          <ac:spMkLst>
            <pc:docMk/>
            <pc:sldMk cId="844873446" sldId="713"/>
            <ac:spMk id="13" creationId="{12C23FFB-444F-5407-424A-180D8960C231}"/>
          </ac:spMkLst>
        </pc:spChg>
        <pc:spChg chg="add mod replST">
          <ac:chgData name="Alexandre Mercier" userId="b4fbace6-72ad-4592-b27d-535191bf0bec" providerId="ADAL" clId="{43491469-63E5-4AF4-A451-2151A57B2BCA}" dt="2023-05-25T09:18:44.015" v="43406"/>
          <ac:spMkLst>
            <pc:docMk/>
            <pc:sldMk cId="844873446" sldId="713"/>
            <ac:spMk id="14" creationId="{3263507A-C5F1-849D-85F6-D049F67A8FEB}"/>
          </ac:spMkLst>
        </pc:spChg>
        <pc:spChg chg="add del mod replST">
          <ac:chgData name="Alexandre Mercier" userId="b4fbace6-72ad-4592-b27d-535191bf0bec" providerId="ADAL" clId="{43491469-63E5-4AF4-A451-2151A57B2BCA}" dt="2023-05-23T11:04:53.705" v="37181"/>
          <ac:spMkLst>
            <pc:docMk/>
            <pc:sldMk cId="844873446" sldId="713"/>
            <ac:spMk id="15" creationId="{120A2DBE-0C02-3FC6-644C-80762978C1FD}"/>
          </ac:spMkLst>
        </pc:spChg>
        <pc:spChg chg="add del mod replST">
          <ac:chgData name="Alexandre Mercier" userId="b4fbace6-72ad-4592-b27d-535191bf0bec" providerId="ADAL" clId="{43491469-63E5-4AF4-A451-2151A57B2BCA}" dt="2023-05-23T11:03:04.860" v="35382"/>
          <ac:spMkLst>
            <pc:docMk/>
            <pc:sldMk cId="844873446" sldId="713"/>
            <ac:spMk id="16" creationId="{A37ABCA8-4FE9-A74B-0D7E-AC07BC8D37A4}"/>
          </ac:spMkLst>
        </pc:spChg>
        <pc:spChg chg="add del mod replST">
          <ac:chgData name="Alexandre Mercier" userId="b4fbace6-72ad-4592-b27d-535191bf0bec" providerId="ADAL" clId="{43491469-63E5-4AF4-A451-2151A57B2BCA}" dt="2023-05-23T10:49:32.314" v="6469"/>
          <ac:spMkLst>
            <pc:docMk/>
            <pc:sldMk cId="844873446" sldId="713"/>
            <ac:spMk id="17" creationId="{0EF7AEBE-70A0-D64C-D4DE-9B8035EC1BB2}"/>
          </ac:spMkLst>
        </pc:spChg>
        <pc:spChg chg="add del mod replST">
          <ac:chgData name="Alexandre Mercier" userId="b4fbace6-72ad-4592-b27d-535191bf0bec" providerId="ADAL" clId="{43491469-63E5-4AF4-A451-2151A57B2BCA}" dt="2023-05-23T10:49:32.316" v="6470"/>
          <ac:spMkLst>
            <pc:docMk/>
            <pc:sldMk cId="844873446" sldId="713"/>
            <ac:spMk id="18" creationId="{83227FFB-3053-BF3F-5C3B-677332898607}"/>
          </ac:spMkLst>
        </pc:spChg>
        <pc:spChg chg="add del mod replST">
          <ac:chgData name="Alexandre Mercier" userId="b4fbace6-72ad-4592-b27d-535191bf0bec" providerId="ADAL" clId="{43491469-63E5-4AF4-A451-2151A57B2BCA}" dt="2023-05-23T10:49:32.317" v="6471"/>
          <ac:spMkLst>
            <pc:docMk/>
            <pc:sldMk cId="844873446" sldId="713"/>
            <ac:spMk id="19" creationId="{0110CC04-1E86-4851-65A5-5CC534A58FE7}"/>
          </ac:spMkLst>
        </pc:spChg>
        <pc:spChg chg="add del mod replST">
          <ac:chgData name="Alexandre Mercier" userId="b4fbace6-72ad-4592-b27d-535191bf0bec" providerId="ADAL" clId="{43491469-63E5-4AF4-A451-2151A57B2BCA}" dt="2023-05-23T10:49:32.318" v="6472"/>
          <ac:spMkLst>
            <pc:docMk/>
            <pc:sldMk cId="844873446" sldId="713"/>
            <ac:spMk id="20" creationId="{C4B22847-F5C0-1363-B008-3CFC4B8E199E}"/>
          </ac:spMkLst>
        </pc:spChg>
        <pc:spChg chg="add del mod replST">
          <ac:chgData name="Alexandre Mercier" userId="b4fbace6-72ad-4592-b27d-535191bf0bec" providerId="ADAL" clId="{43491469-63E5-4AF4-A451-2151A57B2BCA}" dt="2023-05-23T10:49:32.318" v="6473"/>
          <ac:spMkLst>
            <pc:docMk/>
            <pc:sldMk cId="844873446" sldId="713"/>
            <ac:spMk id="21" creationId="{CA86861A-8777-BFB7-F33B-FB3FEA4585D5}"/>
          </ac:spMkLst>
        </pc:spChg>
        <pc:spChg chg="add del mod replST">
          <ac:chgData name="Alexandre Mercier" userId="b4fbace6-72ad-4592-b27d-535191bf0bec" providerId="ADAL" clId="{43491469-63E5-4AF4-A451-2151A57B2BCA}" dt="2023-05-23T10:49:32.319" v="6474"/>
          <ac:spMkLst>
            <pc:docMk/>
            <pc:sldMk cId="844873446" sldId="713"/>
            <ac:spMk id="22" creationId="{E0B2069A-5253-7543-2670-4DAA3FF51C26}"/>
          </ac:spMkLst>
        </pc:spChg>
        <pc:spChg chg="add del mod replST">
          <ac:chgData name="Alexandre Mercier" userId="b4fbace6-72ad-4592-b27d-535191bf0bec" providerId="ADAL" clId="{43491469-63E5-4AF4-A451-2151A57B2BCA}" dt="2023-05-23T10:49:32.319" v="6475"/>
          <ac:spMkLst>
            <pc:docMk/>
            <pc:sldMk cId="844873446" sldId="713"/>
            <ac:spMk id="23" creationId="{49857D01-8757-E748-7B8A-E1901AD3D802}"/>
          </ac:spMkLst>
        </pc:spChg>
        <pc:spChg chg="add del mod replST">
          <ac:chgData name="Alexandre Mercier" userId="b4fbace6-72ad-4592-b27d-535191bf0bec" providerId="ADAL" clId="{43491469-63E5-4AF4-A451-2151A57B2BCA}" dt="2023-05-23T10:49:32.320" v="6476"/>
          <ac:spMkLst>
            <pc:docMk/>
            <pc:sldMk cId="844873446" sldId="713"/>
            <ac:spMk id="24" creationId="{F47B4CC3-48E2-AAB9-AB52-64E9BE33DCC7}"/>
          </ac:spMkLst>
        </pc:spChg>
        <pc:spChg chg="add del mod replST">
          <ac:chgData name="Alexandre Mercier" userId="b4fbace6-72ad-4592-b27d-535191bf0bec" providerId="ADAL" clId="{43491469-63E5-4AF4-A451-2151A57B2BCA}" dt="2023-05-23T10:49:32.320" v="6477"/>
          <ac:spMkLst>
            <pc:docMk/>
            <pc:sldMk cId="844873446" sldId="713"/>
            <ac:spMk id="25" creationId="{0E6F9BFC-7324-3E9E-30F2-8E6A942CDBF9}"/>
          </ac:spMkLst>
        </pc:spChg>
        <pc:spChg chg="add del mod replST">
          <ac:chgData name="Alexandre Mercier" userId="b4fbace6-72ad-4592-b27d-535191bf0bec" providerId="ADAL" clId="{43491469-63E5-4AF4-A451-2151A57B2BCA}" dt="2023-05-23T10:49:32.321" v="6478"/>
          <ac:spMkLst>
            <pc:docMk/>
            <pc:sldMk cId="844873446" sldId="713"/>
            <ac:spMk id="26" creationId="{F9E88148-F138-078C-FD11-1C4A2D6F8F78}"/>
          </ac:spMkLst>
        </pc:spChg>
        <pc:spChg chg="add del mod replST">
          <ac:chgData name="Alexandre Mercier" userId="b4fbace6-72ad-4592-b27d-535191bf0bec" providerId="ADAL" clId="{43491469-63E5-4AF4-A451-2151A57B2BCA}" dt="2023-05-23T10:49:55.288" v="6953"/>
          <ac:spMkLst>
            <pc:docMk/>
            <pc:sldMk cId="844873446" sldId="713"/>
            <ac:spMk id="27" creationId="{0EE51F72-800B-DC4F-5C1F-81F413844E5E}"/>
          </ac:spMkLst>
        </pc:spChg>
        <pc:spChg chg="add del mod replST">
          <ac:chgData name="Alexandre Mercier" userId="b4fbace6-72ad-4592-b27d-535191bf0bec" providerId="ADAL" clId="{43491469-63E5-4AF4-A451-2151A57B2BCA}" dt="2023-05-23T10:49:55.288" v="6952"/>
          <ac:spMkLst>
            <pc:docMk/>
            <pc:sldMk cId="844873446" sldId="713"/>
            <ac:spMk id="28" creationId="{9201BA76-9272-3945-94EB-E4B103C8B606}"/>
          </ac:spMkLst>
        </pc:spChg>
        <pc:spChg chg="add del mod replST">
          <ac:chgData name="Alexandre Mercier" userId="b4fbace6-72ad-4592-b27d-535191bf0bec" providerId="ADAL" clId="{43491469-63E5-4AF4-A451-2151A57B2BCA}" dt="2023-05-23T10:49:55.288" v="6951"/>
          <ac:spMkLst>
            <pc:docMk/>
            <pc:sldMk cId="844873446" sldId="713"/>
            <ac:spMk id="29" creationId="{DFB42EEE-4F5A-316B-ACB9-D43B6F00C282}"/>
          </ac:spMkLst>
        </pc:spChg>
        <pc:spChg chg="add del mod replST">
          <ac:chgData name="Alexandre Mercier" userId="b4fbace6-72ad-4592-b27d-535191bf0bec" providerId="ADAL" clId="{43491469-63E5-4AF4-A451-2151A57B2BCA}" dt="2023-05-23T10:49:55.287" v="6950"/>
          <ac:spMkLst>
            <pc:docMk/>
            <pc:sldMk cId="844873446" sldId="713"/>
            <ac:spMk id="30" creationId="{3FDD9D13-3B71-7DDA-7834-5D3E7F73FDCA}"/>
          </ac:spMkLst>
        </pc:spChg>
        <pc:spChg chg="add del mod replST">
          <ac:chgData name="Alexandre Mercier" userId="b4fbace6-72ad-4592-b27d-535191bf0bec" providerId="ADAL" clId="{43491469-63E5-4AF4-A451-2151A57B2BCA}" dt="2023-05-23T10:49:55.287" v="6949"/>
          <ac:spMkLst>
            <pc:docMk/>
            <pc:sldMk cId="844873446" sldId="713"/>
            <ac:spMk id="31" creationId="{31A0C307-EDCF-CEBB-383F-10FC4FCD67D9}"/>
          </ac:spMkLst>
        </pc:spChg>
        <pc:spChg chg="add del mod replST">
          <ac:chgData name="Alexandre Mercier" userId="b4fbace6-72ad-4592-b27d-535191bf0bec" providerId="ADAL" clId="{43491469-63E5-4AF4-A451-2151A57B2BCA}" dt="2023-05-23T10:49:55.287" v="6948"/>
          <ac:spMkLst>
            <pc:docMk/>
            <pc:sldMk cId="844873446" sldId="713"/>
            <ac:spMk id="32" creationId="{BCE71CDF-8E57-174D-3AF2-181B3FB386FA}"/>
          </ac:spMkLst>
        </pc:spChg>
        <pc:spChg chg="add del mod replST">
          <ac:chgData name="Alexandre Mercier" userId="b4fbace6-72ad-4592-b27d-535191bf0bec" providerId="ADAL" clId="{43491469-63E5-4AF4-A451-2151A57B2BCA}" dt="2023-05-23T10:49:55.286" v="6947"/>
          <ac:spMkLst>
            <pc:docMk/>
            <pc:sldMk cId="844873446" sldId="713"/>
            <ac:spMk id="33" creationId="{A7EB5E1D-A0C9-19E6-EA34-663313FCC1CF}"/>
          </ac:spMkLst>
        </pc:spChg>
        <pc:spChg chg="add del mod replST">
          <ac:chgData name="Alexandre Mercier" userId="b4fbace6-72ad-4592-b27d-535191bf0bec" providerId="ADAL" clId="{43491469-63E5-4AF4-A451-2151A57B2BCA}" dt="2023-05-23T10:49:55.286" v="6946"/>
          <ac:spMkLst>
            <pc:docMk/>
            <pc:sldMk cId="844873446" sldId="713"/>
            <ac:spMk id="34" creationId="{16841686-A421-19B1-7A8C-6006F8D6754D}"/>
          </ac:spMkLst>
        </pc:spChg>
        <pc:spChg chg="add del mod replST">
          <ac:chgData name="Alexandre Mercier" userId="b4fbace6-72ad-4592-b27d-535191bf0bec" providerId="ADAL" clId="{43491469-63E5-4AF4-A451-2151A57B2BCA}" dt="2023-05-23T10:49:55.286" v="6945"/>
          <ac:spMkLst>
            <pc:docMk/>
            <pc:sldMk cId="844873446" sldId="713"/>
            <ac:spMk id="35" creationId="{9B1BFB6A-3DF4-F716-C40F-C151B430DB08}"/>
          </ac:spMkLst>
        </pc:spChg>
        <pc:spChg chg="add del mod replST">
          <ac:chgData name="Alexandre Mercier" userId="b4fbace6-72ad-4592-b27d-535191bf0bec" providerId="ADAL" clId="{43491469-63E5-4AF4-A451-2151A57B2BCA}" dt="2023-05-23T10:49:55.284" v="6944"/>
          <ac:spMkLst>
            <pc:docMk/>
            <pc:sldMk cId="844873446" sldId="713"/>
            <ac:spMk id="36" creationId="{71F50047-7005-D238-F27D-E7E3E5928F33}"/>
          </ac:spMkLst>
        </pc:spChg>
        <pc:spChg chg="add del mod replST">
          <ac:chgData name="Alexandre Mercier" userId="b4fbace6-72ad-4592-b27d-535191bf0bec" providerId="ADAL" clId="{43491469-63E5-4AF4-A451-2151A57B2BCA}" dt="2023-05-23T10:49:55.284" v="6943"/>
          <ac:spMkLst>
            <pc:docMk/>
            <pc:sldMk cId="844873446" sldId="713"/>
            <ac:spMk id="37" creationId="{21588606-DF9B-3573-7499-B50BF97BF274}"/>
          </ac:spMkLst>
        </pc:spChg>
        <pc:spChg chg="add del mod replST">
          <ac:chgData name="Alexandre Mercier" userId="b4fbace6-72ad-4592-b27d-535191bf0bec" providerId="ADAL" clId="{43491469-63E5-4AF4-A451-2151A57B2BCA}" dt="2023-05-23T10:49:55.284" v="6942"/>
          <ac:spMkLst>
            <pc:docMk/>
            <pc:sldMk cId="844873446" sldId="713"/>
            <ac:spMk id="38" creationId="{FFC92AE5-7E88-E710-58A5-51A86754A354}"/>
          </ac:spMkLst>
        </pc:spChg>
        <pc:spChg chg="add del mod replST">
          <ac:chgData name="Alexandre Mercier" userId="b4fbace6-72ad-4592-b27d-535191bf0bec" providerId="ADAL" clId="{43491469-63E5-4AF4-A451-2151A57B2BCA}" dt="2023-05-23T10:49:55.283" v="6941"/>
          <ac:spMkLst>
            <pc:docMk/>
            <pc:sldMk cId="844873446" sldId="713"/>
            <ac:spMk id="39" creationId="{2EE4DC08-5B2C-0FBE-11CD-77777639D39C}"/>
          </ac:spMkLst>
        </pc:spChg>
        <pc:spChg chg="add del mod replST">
          <ac:chgData name="Alexandre Mercier" userId="b4fbace6-72ad-4592-b27d-535191bf0bec" providerId="ADAL" clId="{43491469-63E5-4AF4-A451-2151A57B2BCA}" dt="2023-05-23T10:49:55.283" v="6940"/>
          <ac:spMkLst>
            <pc:docMk/>
            <pc:sldMk cId="844873446" sldId="713"/>
            <ac:spMk id="40" creationId="{889BD10E-06D9-E6C0-A7A9-0AEAE625130B}"/>
          </ac:spMkLst>
        </pc:spChg>
        <pc:spChg chg="add del mod replST">
          <ac:chgData name="Alexandre Mercier" userId="b4fbace6-72ad-4592-b27d-535191bf0bec" providerId="ADAL" clId="{43491469-63E5-4AF4-A451-2151A57B2BCA}" dt="2023-05-23T10:49:55.313" v="6974"/>
          <ac:spMkLst>
            <pc:docMk/>
            <pc:sldMk cId="844873446" sldId="713"/>
            <ac:spMk id="41" creationId="{EABAD23B-C833-0428-6F40-5E3EBBAF1EC8}"/>
          </ac:spMkLst>
        </pc:spChg>
        <pc:spChg chg="add del mod replST">
          <ac:chgData name="Alexandre Mercier" userId="b4fbace6-72ad-4592-b27d-535191bf0bec" providerId="ADAL" clId="{43491469-63E5-4AF4-A451-2151A57B2BCA}" dt="2023-05-23T10:49:55.313" v="6973"/>
          <ac:spMkLst>
            <pc:docMk/>
            <pc:sldMk cId="844873446" sldId="713"/>
            <ac:spMk id="42" creationId="{4E102B7A-752B-F4A7-1C8F-D7A4FE90D050}"/>
          </ac:spMkLst>
        </pc:spChg>
        <pc:spChg chg="add del mod replST">
          <ac:chgData name="Alexandre Mercier" userId="b4fbace6-72ad-4592-b27d-535191bf0bec" providerId="ADAL" clId="{43491469-63E5-4AF4-A451-2151A57B2BCA}" dt="2023-05-23T10:49:55.312" v="6972"/>
          <ac:spMkLst>
            <pc:docMk/>
            <pc:sldMk cId="844873446" sldId="713"/>
            <ac:spMk id="43" creationId="{FCEC2CBE-8279-AA2F-2E38-D49DEBF2E700}"/>
          </ac:spMkLst>
        </pc:spChg>
        <pc:spChg chg="add del mod replST">
          <ac:chgData name="Alexandre Mercier" userId="b4fbace6-72ad-4592-b27d-535191bf0bec" providerId="ADAL" clId="{43491469-63E5-4AF4-A451-2151A57B2BCA}" dt="2023-05-23T10:49:55.315" v="6975"/>
          <ac:spMkLst>
            <pc:docMk/>
            <pc:sldMk cId="844873446" sldId="713"/>
            <ac:spMk id="44" creationId="{19E09989-47EB-D9B2-B9B1-06717BD2E100}"/>
          </ac:spMkLst>
        </pc:spChg>
        <pc:spChg chg="add del mod ord replST">
          <ac:chgData name="Alexandre Mercier" userId="b4fbace6-72ad-4592-b27d-535191bf0bec" providerId="ADAL" clId="{43491469-63E5-4AF4-A451-2151A57B2BCA}" dt="2023-05-23T10:49:55.316" v="6977"/>
          <ac:spMkLst>
            <pc:docMk/>
            <pc:sldMk cId="844873446" sldId="713"/>
            <ac:spMk id="45" creationId="{36AFCA12-04AE-2695-2084-54F6D638F0A2}"/>
          </ac:spMkLst>
        </pc:spChg>
        <pc:spChg chg="add del mod replST">
          <ac:chgData name="Alexandre Mercier" userId="b4fbace6-72ad-4592-b27d-535191bf0bec" providerId="ADAL" clId="{43491469-63E5-4AF4-A451-2151A57B2BCA}" dt="2023-05-23T10:49:55.318" v="6980"/>
          <ac:spMkLst>
            <pc:docMk/>
            <pc:sldMk cId="844873446" sldId="713"/>
            <ac:spMk id="47" creationId="{196853CD-5DCD-E9D4-C501-9C083B3D2E35}"/>
          </ac:spMkLst>
        </pc:spChg>
        <pc:spChg chg="add del mod ord replST">
          <ac:chgData name="Alexandre Mercier" userId="b4fbace6-72ad-4592-b27d-535191bf0bec" providerId="ADAL" clId="{43491469-63E5-4AF4-A451-2151A57B2BCA}" dt="2023-05-23T10:49:55.319" v="6982"/>
          <ac:spMkLst>
            <pc:docMk/>
            <pc:sldMk cId="844873446" sldId="713"/>
            <ac:spMk id="48" creationId="{2DF9E15C-415E-FEDC-D620-EAC353967126}"/>
          </ac:spMkLst>
        </pc:spChg>
        <pc:spChg chg="add del mod replST">
          <ac:chgData name="Alexandre Mercier" userId="b4fbace6-72ad-4592-b27d-535191bf0bec" providerId="ADAL" clId="{43491469-63E5-4AF4-A451-2151A57B2BCA}" dt="2023-05-23T10:50:13.844" v="8993"/>
          <ac:spMkLst>
            <pc:docMk/>
            <pc:sldMk cId="844873446" sldId="713"/>
            <ac:spMk id="71" creationId="{1C0FFE3D-EE3C-4A20-5905-FF513A113E79}"/>
          </ac:spMkLst>
        </pc:spChg>
        <pc:spChg chg="add del mod modVis">
          <ac:chgData name="Alexandre Mercier" userId="b4fbace6-72ad-4592-b27d-535191bf0bec" providerId="ADAL" clId="{43491469-63E5-4AF4-A451-2151A57B2BCA}" dt="2023-05-23T10:49:55.369" v="7091"/>
          <ac:spMkLst>
            <pc:docMk/>
            <pc:sldMk cId="844873446" sldId="713"/>
            <ac:spMk id="72" creationId="{8735F9B8-2804-2F84-303A-6390B05B8547}"/>
          </ac:spMkLst>
        </pc:spChg>
        <pc:spChg chg="add del mod replST">
          <ac:chgData name="Alexandre Mercier" userId="b4fbace6-72ad-4592-b27d-535191bf0bec" providerId="ADAL" clId="{43491469-63E5-4AF4-A451-2151A57B2BCA}" dt="2023-05-23T10:50:13.863" v="9027"/>
          <ac:spMkLst>
            <pc:docMk/>
            <pc:sldMk cId="844873446" sldId="713"/>
            <ac:spMk id="73" creationId="{A30727E1-E82A-6AD5-5408-C5F3912A5B30}"/>
          </ac:spMkLst>
        </pc:spChg>
        <pc:spChg chg="add del mod replST">
          <ac:chgData name="Alexandre Mercier" userId="b4fbace6-72ad-4592-b27d-535191bf0bec" providerId="ADAL" clId="{43491469-63E5-4AF4-A451-2151A57B2BCA}" dt="2023-05-23T10:59:41.080" v="26415"/>
          <ac:spMkLst>
            <pc:docMk/>
            <pc:sldMk cId="844873446" sldId="713"/>
            <ac:spMk id="74" creationId="{430F36F1-D4B1-9DD5-3689-09F808C61CE8}"/>
          </ac:spMkLst>
        </pc:spChg>
        <pc:spChg chg="add del mod modVis">
          <ac:chgData name="Alexandre Mercier" userId="b4fbace6-72ad-4592-b27d-535191bf0bec" providerId="ADAL" clId="{43491469-63E5-4AF4-A451-2151A57B2BCA}" dt="2023-05-23T10:50:04.752" v="8982"/>
          <ac:spMkLst>
            <pc:docMk/>
            <pc:sldMk cId="844873446" sldId="713"/>
            <ac:spMk id="75" creationId="{753101F4-2592-39DA-5E9D-EBEA3CE60335}"/>
          </ac:spMkLst>
        </pc:spChg>
        <pc:spChg chg="add del mod replST">
          <ac:chgData name="Alexandre Mercier" userId="b4fbace6-72ad-4592-b27d-535191bf0bec" providerId="ADAL" clId="{43491469-63E5-4AF4-A451-2151A57B2BCA}" dt="2023-05-23T10:50:13.862" v="9026"/>
          <ac:spMkLst>
            <pc:docMk/>
            <pc:sldMk cId="844873446" sldId="713"/>
            <ac:spMk id="76" creationId="{40396EA4-71C2-0481-5CEF-5857F7DCB2AB}"/>
          </ac:spMkLst>
        </pc:spChg>
        <pc:spChg chg="add del mod replST">
          <ac:chgData name="Alexandre Mercier" userId="b4fbace6-72ad-4592-b27d-535191bf0bec" providerId="ADAL" clId="{43491469-63E5-4AF4-A451-2151A57B2BCA}" dt="2023-05-23T10:50:13.861" v="9025"/>
          <ac:spMkLst>
            <pc:docMk/>
            <pc:sldMk cId="844873446" sldId="713"/>
            <ac:spMk id="77" creationId="{72F2BC00-791D-E22D-78CA-F17AD34A7B89}"/>
          </ac:spMkLst>
        </pc:spChg>
        <pc:spChg chg="add del mod replST">
          <ac:chgData name="Alexandre Mercier" userId="b4fbace6-72ad-4592-b27d-535191bf0bec" providerId="ADAL" clId="{43491469-63E5-4AF4-A451-2151A57B2BCA}" dt="2023-05-23T10:50:13.861" v="9024"/>
          <ac:spMkLst>
            <pc:docMk/>
            <pc:sldMk cId="844873446" sldId="713"/>
            <ac:spMk id="78" creationId="{50E2398C-FD14-E98B-5EEF-5B7F4300F565}"/>
          </ac:spMkLst>
        </pc:spChg>
        <pc:spChg chg="add del mod replST">
          <ac:chgData name="Alexandre Mercier" userId="b4fbace6-72ad-4592-b27d-535191bf0bec" providerId="ADAL" clId="{43491469-63E5-4AF4-A451-2151A57B2BCA}" dt="2023-05-23T10:50:13.860" v="9023"/>
          <ac:spMkLst>
            <pc:docMk/>
            <pc:sldMk cId="844873446" sldId="713"/>
            <ac:spMk id="79" creationId="{BB4C4B60-2E3B-E1D8-2ABD-53E10FB05E85}"/>
          </ac:spMkLst>
        </pc:spChg>
        <pc:spChg chg="add del mod replST">
          <ac:chgData name="Alexandre Mercier" userId="b4fbace6-72ad-4592-b27d-535191bf0bec" providerId="ADAL" clId="{43491469-63E5-4AF4-A451-2151A57B2BCA}" dt="2023-05-23T10:50:13.860" v="9022"/>
          <ac:spMkLst>
            <pc:docMk/>
            <pc:sldMk cId="844873446" sldId="713"/>
            <ac:spMk id="80" creationId="{F2277D7C-00FA-2656-DC14-D4E98D89BA2A}"/>
          </ac:spMkLst>
        </pc:spChg>
        <pc:spChg chg="add del mod replST">
          <ac:chgData name="Alexandre Mercier" userId="b4fbace6-72ad-4592-b27d-535191bf0bec" providerId="ADAL" clId="{43491469-63E5-4AF4-A451-2151A57B2BCA}" dt="2023-05-23T10:50:13.859" v="9021"/>
          <ac:spMkLst>
            <pc:docMk/>
            <pc:sldMk cId="844873446" sldId="713"/>
            <ac:spMk id="81" creationId="{6951218B-7D70-1298-6ADF-3CCD06CDA9F1}"/>
          </ac:spMkLst>
        </pc:spChg>
        <pc:spChg chg="add del mod replST">
          <ac:chgData name="Alexandre Mercier" userId="b4fbace6-72ad-4592-b27d-535191bf0bec" providerId="ADAL" clId="{43491469-63E5-4AF4-A451-2151A57B2BCA}" dt="2023-05-23T10:50:13.859" v="9020"/>
          <ac:spMkLst>
            <pc:docMk/>
            <pc:sldMk cId="844873446" sldId="713"/>
            <ac:spMk id="82" creationId="{8C5D6741-7562-546E-A33E-CAA6E0F981D8}"/>
          </ac:spMkLst>
        </pc:spChg>
        <pc:spChg chg="add del mod replST">
          <ac:chgData name="Alexandre Mercier" userId="b4fbace6-72ad-4592-b27d-535191bf0bec" providerId="ADAL" clId="{43491469-63E5-4AF4-A451-2151A57B2BCA}" dt="2023-05-23T10:50:13.859" v="9019"/>
          <ac:spMkLst>
            <pc:docMk/>
            <pc:sldMk cId="844873446" sldId="713"/>
            <ac:spMk id="83" creationId="{BEE960D0-B4B4-47AE-BC19-56E31D26E345}"/>
          </ac:spMkLst>
        </pc:spChg>
        <pc:spChg chg="add del mod replST">
          <ac:chgData name="Alexandre Mercier" userId="b4fbace6-72ad-4592-b27d-535191bf0bec" providerId="ADAL" clId="{43491469-63E5-4AF4-A451-2151A57B2BCA}" dt="2023-05-23T10:50:13.858" v="9018"/>
          <ac:spMkLst>
            <pc:docMk/>
            <pc:sldMk cId="844873446" sldId="713"/>
            <ac:spMk id="84" creationId="{EF89238A-D0C6-B04C-DF19-1E208430870E}"/>
          </ac:spMkLst>
        </pc:spChg>
        <pc:spChg chg="add del mod replST">
          <ac:chgData name="Alexandre Mercier" userId="b4fbace6-72ad-4592-b27d-535191bf0bec" providerId="ADAL" clId="{43491469-63E5-4AF4-A451-2151A57B2BCA}" dt="2023-05-23T10:50:13.858" v="9017"/>
          <ac:spMkLst>
            <pc:docMk/>
            <pc:sldMk cId="844873446" sldId="713"/>
            <ac:spMk id="85" creationId="{B760E235-4D06-C0DE-03D0-FEA4072344A3}"/>
          </ac:spMkLst>
        </pc:spChg>
        <pc:spChg chg="add del mod replST">
          <ac:chgData name="Alexandre Mercier" userId="b4fbace6-72ad-4592-b27d-535191bf0bec" providerId="ADAL" clId="{43491469-63E5-4AF4-A451-2151A57B2BCA}" dt="2023-05-23T10:50:13.857" v="9016"/>
          <ac:spMkLst>
            <pc:docMk/>
            <pc:sldMk cId="844873446" sldId="713"/>
            <ac:spMk id="86" creationId="{CB2AD7C6-7C05-0A00-EBC4-87D845429852}"/>
          </ac:spMkLst>
        </pc:spChg>
        <pc:spChg chg="add del mod replST">
          <ac:chgData name="Alexandre Mercier" userId="b4fbace6-72ad-4592-b27d-535191bf0bec" providerId="ADAL" clId="{43491469-63E5-4AF4-A451-2151A57B2BCA}" dt="2023-05-23T10:50:13.857" v="9015"/>
          <ac:spMkLst>
            <pc:docMk/>
            <pc:sldMk cId="844873446" sldId="713"/>
            <ac:spMk id="87" creationId="{D52E3BAF-ACAB-75F2-3EC6-835054C38EB1}"/>
          </ac:spMkLst>
        </pc:spChg>
        <pc:spChg chg="add del mod replST">
          <ac:chgData name="Alexandre Mercier" userId="b4fbace6-72ad-4592-b27d-535191bf0bec" providerId="ADAL" clId="{43491469-63E5-4AF4-A451-2151A57B2BCA}" dt="2023-05-23T10:50:13.855" v="9014"/>
          <ac:spMkLst>
            <pc:docMk/>
            <pc:sldMk cId="844873446" sldId="713"/>
            <ac:spMk id="88" creationId="{F51F32B5-73EC-15B6-1F7F-F7D68BB4D9AB}"/>
          </ac:spMkLst>
        </pc:spChg>
        <pc:spChg chg="add del mod replST">
          <ac:chgData name="Alexandre Mercier" userId="b4fbace6-72ad-4592-b27d-535191bf0bec" providerId="ADAL" clId="{43491469-63E5-4AF4-A451-2151A57B2BCA}" dt="2023-05-23T10:50:13.855" v="9013"/>
          <ac:spMkLst>
            <pc:docMk/>
            <pc:sldMk cId="844873446" sldId="713"/>
            <ac:spMk id="89" creationId="{7F72F11E-EE24-EB35-0D9C-9B930EF1360E}"/>
          </ac:spMkLst>
        </pc:spChg>
        <pc:spChg chg="add del mod replST">
          <ac:chgData name="Alexandre Mercier" userId="b4fbace6-72ad-4592-b27d-535191bf0bec" providerId="ADAL" clId="{43491469-63E5-4AF4-A451-2151A57B2BCA}" dt="2023-05-23T10:50:13.854" v="9012"/>
          <ac:spMkLst>
            <pc:docMk/>
            <pc:sldMk cId="844873446" sldId="713"/>
            <ac:spMk id="90" creationId="{3A5F67D7-27A2-2114-3DA8-D7C69C30DD74}"/>
          </ac:spMkLst>
        </pc:spChg>
        <pc:spChg chg="add del mod replST">
          <ac:chgData name="Alexandre Mercier" userId="b4fbace6-72ad-4592-b27d-535191bf0bec" providerId="ADAL" clId="{43491469-63E5-4AF4-A451-2151A57B2BCA}" dt="2023-05-23T10:50:13.854" v="9011"/>
          <ac:spMkLst>
            <pc:docMk/>
            <pc:sldMk cId="844873446" sldId="713"/>
            <ac:spMk id="91" creationId="{1738B42B-5541-3298-4762-EB4679F05819}"/>
          </ac:spMkLst>
        </pc:spChg>
        <pc:spChg chg="add del mod replST">
          <ac:chgData name="Alexandre Mercier" userId="b4fbace6-72ad-4592-b27d-535191bf0bec" providerId="ADAL" clId="{43491469-63E5-4AF4-A451-2151A57B2BCA}" dt="2023-05-23T10:50:13.853" v="9010"/>
          <ac:spMkLst>
            <pc:docMk/>
            <pc:sldMk cId="844873446" sldId="713"/>
            <ac:spMk id="92" creationId="{5559863F-7F51-3891-8522-0E2F6F0C993B}"/>
          </ac:spMkLst>
        </pc:spChg>
        <pc:spChg chg="add del mod replST">
          <ac:chgData name="Alexandre Mercier" userId="b4fbace6-72ad-4592-b27d-535191bf0bec" providerId="ADAL" clId="{43491469-63E5-4AF4-A451-2151A57B2BCA}" dt="2023-05-23T10:50:13.853" v="9009"/>
          <ac:spMkLst>
            <pc:docMk/>
            <pc:sldMk cId="844873446" sldId="713"/>
            <ac:spMk id="93" creationId="{82DF0457-068B-D0AC-2448-827B7D105AB8}"/>
          </ac:spMkLst>
        </pc:spChg>
        <pc:spChg chg="add del mod replST">
          <ac:chgData name="Alexandre Mercier" userId="b4fbace6-72ad-4592-b27d-535191bf0bec" providerId="ADAL" clId="{43491469-63E5-4AF4-A451-2151A57B2BCA}" dt="2023-05-23T10:50:13.853" v="9008"/>
          <ac:spMkLst>
            <pc:docMk/>
            <pc:sldMk cId="844873446" sldId="713"/>
            <ac:spMk id="94" creationId="{F4FAA6E8-0735-3F20-5026-98F13A829DF2}"/>
          </ac:spMkLst>
        </pc:spChg>
        <pc:spChg chg="add del mod replST">
          <ac:chgData name="Alexandre Mercier" userId="b4fbace6-72ad-4592-b27d-535191bf0bec" providerId="ADAL" clId="{43491469-63E5-4AF4-A451-2151A57B2BCA}" dt="2023-05-23T10:50:13.852" v="9007"/>
          <ac:spMkLst>
            <pc:docMk/>
            <pc:sldMk cId="844873446" sldId="713"/>
            <ac:spMk id="95" creationId="{618BD4FE-D257-E714-BED7-87C4ECC4DF0A}"/>
          </ac:spMkLst>
        </pc:spChg>
        <pc:spChg chg="add del mod replST">
          <ac:chgData name="Alexandre Mercier" userId="b4fbace6-72ad-4592-b27d-535191bf0bec" providerId="ADAL" clId="{43491469-63E5-4AF4-A451-2151A57B2BCA}" dt="2023-05-23T10:50:13.852" v="9006"/>
          <ac:spMkLst>
            <pc:docMk/>
            <pc:sldMk cId="844873446" sldId="713"/>
            <ac:spMk id="96" creationId="{EDE884DE-8889-04E9-3335-2301DFFC750F}"/>
          </ac:spMkLst>
        </pc:spChg>
        <pc:spChg chg="add del mod replST">
          <ac:chgData name="Alexandre Mercier" userId="b4fbace6-72ad-4592-b27d-535191bf0bec" providerId="ADAL" clId="{43491469-63E5-4AF4-A451-2151A57B2BCA}" dt="2023-05-23T10:50:13.851" v="9005"/>
          <ac:spMkLst>
            <pc:docMk/>
            <pc:sldMk cId="844873446" sldId="713"/>
            <ac:spMk id="97" creationId="{16484CCA-A41A-8A1E-BC10-D254025F362A}"/>
          </ac:spMkLst>
        </pc:spChg>
        <pc:spChg chg="add del mod replST">
          <ac:chgData name="Alexandre Mercier" userId="b4fbace6-72ad-4592-b27d-535191bf0bec" providerId="ADAL" clId="{43491469-63E5-4AF4-A451-2151A57B2BCA}" dt="2023-05-23T10:50:13.851" v="9004"/>
          <ac:spMkLst>
            <pc:docMk/>
            <pc:sldMk cId="844873446" sldId="713"/>
            <ac:spMk id="98" creationId="{EFD329E4-AA05-BE6D-26F4-73E32E72A7EC}"/>
          </ac:spMkLst>
        </pc:spChg>
        <pc:spChg chg="add del mod replST">
          <ac:chgData name="Alexandre Mercier" userId="b4fbace6-72ad-4592-b27d-535191bf0bec" providerId="ADAL" clId="{43491469-63E5-4AF4-A451-2151A57B2BCA}" dt="2023-05-23T10:50:13.850" v="9003"/>
          <ac:spMkLst>
            <pc:docMk/>
            <pc:sldMk cId="844873446" sldId="713"/>
            <ac:spMk id="99" creationId="{3D240EE5-40A8-E993-A990-B670E75F0DA1}"/>
          </ac:spMkLst>
        </pc:spChg>
        <pc:spChg chg="add del mod replST">
          <ac:chgData name="Alexandre Mercier" userId="b4fbace6-72ad-4592-b27d-535191bf0bec" providerId="ADAL" clId="{43491469-63E5-4AF4-A451-2151A57B2BCA}" dt="2023-05-23T10:50:13.850" v="9002"/>
          <ac:spMkLst>
            <pc:docMk/>
            <pc:sldMk cId="844873446" sldId="713"/>
            <ac:spMk id="100" creationId="{62B47102-8809-DA01-A3B0-D8D1628C2126}"/>
          </ac:spMkLst>
        </pc:spChg>
        <pc:spChg chg="add del mod replST">
          <ac:chgData name="Alexandre Mercier" userId="b4fbace6-72ad-4592-b27d-535191bf0bec" providerId="ADAL" clId="{43491469-63E5-4AF4-A451-2151A57B2BCA}" dt="2023-05-23T10:50:13.848" v="9001"/>
          <ac:spMkLst>
            <pc:docMk/>
            <pc:sldMk cId="844873446" sldId="713"/>
            <ac:spMk id="101" creationId="{FBF2A7DA-EC67-4904-00E9-CAFFCB38B2B7}"/>
          </ac:spMkLst>
        </pc:spChg>
        <pc:spChg chg="add del mod replST">
          <ac:chgData name="Alexandre Mercier" userId="b4fbace6-72ad-4592-b27d-535191bf0bec" providerId="ADAL" clId="{43491469-63E5-4AF4-A451-2151A57B2BCA}" dt="2023-05-23T10:50:13.848" v="9000"/>
          <ac:spMkLst>
            <pc:docMk/>
            <pc:sldMk cId="844873446" sldId="713"/>
            <ac:spMk id="102" creationId="{1236679B-FC42-7447-24F4-DFC0CB58731A}"/>
          </ac:spMkLst>
        </pc:spChg>
        <pc:spChg chg="add del mod replST">
          <ac:chgData name="Alexandre Mercier" userId="b4fbace6-72ad-4592-b27d-535191bf0bec" providerId="ADAL" clId="{43491469-63E5-4AF4-A451-2151A57B2BCA}" dt="2023-05-23T10:50:13.848" v="8999"/>
          <ac:spMkLst>
            <pc:docMk/>
            <pc:sldMk cId="844873446" sldId="713"/>
            <ac:spMk id="103" creationId="{D5C0CB07-F01E-F95F-4EED-31B4BA2EA05F}"/>
          </ac:spMkLst>
        </pc:spChg>
        <pc:spChg chg="add del mod replST">
          <ac:chgData name="Alexandre Mercier" userId="b4fbace6-72ad-4592-b27d-535191bf0bec" providerId="ADAL" clId="{43491469-63E5-4AF4-A451-2151A57B2BCA}" dt="2023-05-23T10:50:13.847" v="8998"/>
          <ac:spMkLst>
            <pc:docMk/>
            <pc:sldMk cId="844873446" sldId="713"/>
            <ac:spMk id="104" creationId="{63024C99-867D-097E-FF19-CF737E29A7AB}"/>
          </ac:spMkLst>
        </pc:spChg>
        <pc:spChg chg="add del mod replST">
          <ac:chgData name="Alexandre Mercier" userId="b4fbace6-72ad-4592-b27d-535191bf0bec" providerId="ADAL" clId="{43491469-63E5-4AF4-A451-2151A57B2BCA}" dt="2023-05-23T10:50:13.847" v="8997"/>
          <ac:spMkLst>
            <pc:docMk/>
            <pc:sldMk cId="844873446" sldId="713"/>
            <ac:spMk id="105" creationId="{0AF2F7B1-DF71-E6B3-D52A-016BA913FAB5}"/>
          </ac:spMkLst>
        </pc:spChg>
        <pc:spChg chg="add del mod replST">
          <ac:chgData name="Alexandre Mercier" userId="b4fbace6-72ad-4592-b27d-535191bf0bec" providerId="ADAL" clId="{43491469-63E5-4AF4-A451-2151A57B2BCA}" dt="2023-05-23T10:50:13.846" v="8996"/>
          <ac:spMkLst>
            <pc:docMk/>
            <pc:sldMk cId="844873446" sldId="713"/>
            <ac:spMk id="106" creationId="{3C9A0725-7FB5-0FB5-7A7F-3C236F73DB44}"/>
          </ac:spMkLst>
        </pc:spChg>
        <pc:spChg chg="add del mod replST">
          <ac:chgData name="Alexandre Mercier" userId="b4fbace6-72ad-4592-b27d-535191bf0bec" providerId="ADAL" clId="{43491469-63E5-4AF4-A451-2151A57B2BCA}" dt="2023-05-23T10:50:13.845" v="8995"/>
          <ac:spMkLst>
            <pc:docMk/>
            <pc:sldMk cId="844873446" sldId="713"/>
            <ac:spMk id="107" creationId="{2ECD1A07-F9DC-2BC2-154B-6C221BC0F964}"/>
          </ac:spMkLst>
        </pc:spChg>
        <pc:spChg chg="add del mod replST">
          <ac:chgData name="Alexandre Mercier" userId="b4fbace6-72ad-4592-b27d-535191bf0bec" providerId="ADAL" clId="{43491469-63E5-4AF4-A451-2151A57B2BCA}" dt="2023-05-23T10:50:13.844" v="8994"/>
          <ac:spMkLst>
            <pc:docMk/>
            <pc:sldMk cId="844873446" sldId="713"/>
            <ac:spMk id="108" creationId="{6F58160D-AC41-021C-DB06-426B695CB7FD}"/>
          </ac:spMkLst>
        </pc:spChg>
        <pc:spChg chg="add mod replST">
          <ac:chgData name="Alexandre Mercier" userId="b4fbace6-72ad-4592-b27d-535191bf0bec" providerId="ADAL" clId="{43491469-63E5-4AF4-A451-2151A57B2BCA}" dt="2023-05-25T09:18:44.047" v="43414"/>
          <ac:spMkLst>
            <pc:docMk/>
            <pc:sldMk cId="844873446" sldId="713"/>
            <ac:spMk id="109" creationId="{FEC596ED-43E2-E7D2-22FB-FAFE1658A618}"/>
          </ac:spMkLst>
        </pc:spChg>
        <pc:spChg chg="add del mod replST">
          <ac:chgData name="Alexandre Mercier" userId="b4fbace6-72ad-4592-b27d-535191bf0bec" providerId="ADAL" clId="{43491469-63E5-4AF4-A451-2151A57B2BCA}" dt="2023-05-23T10:50:13.866" v="9033"/>
          <ac:spMkLst>
            <pc:docMk/>
            <pc:sldMk cId="844873446" sldId="713"/>
            <ac:spMk id="110" creationId="{1A796618-CD96-788D-348C-8F525F86F617}"/>
          </ac:spMkLst>
        </pc:spChg>
        <pc:spChg chg="add del mod replST">
          <ac:chgData name="Alexandre Mercier" userId="b4fbace6-72ad-4592-b27d-535191bf0bec" providerId="ADAL" clId="{43491469-63E5-4AF4-A451-2151A57B2BCA}" dt="2023-05-23T10:50:13.864" v="9032"/>
          <ac:spMkLst>
            <pc:docMk/>
            <pc:sldMk cId="844873446" sldId="713"/>
            <ac:spMk id="111" creationId="{9EC58DCD-A1F3-D64E-644D-D6EA19A51DD2}"/>
          </ac:spMkLst>
        </pc:spChg>
        <pc:spChg chg="add del mod replST">
          <ac:chgData name="Alexandre Mercier" userId="b4fbace6-72ad-4592-b27d-535191bf0bec" providerId="ADAL" clId="{43491469-63E5-4AF4-A451-2151A57B2BCA}" dt="2023-05-23T10:50:13.864" v="9031"/>
          <ac:spMkLst>
            <pc:docMk/>
            <pc:sldMk cId="844873446" sldId="713"/>
            <ac:spMk id="112" creationId="{06B26BC2-147A-B1E2-90A0-15F3CAE07240}"/>
          </ac:spMkLst>
        </pc:spChg>
        <pc:spChg chg="add del mod replST">
          <ac:chgData name="Alexandre Mercier" userId="b4fbace6-72ad-4592-b27d-535191bf0bec" providerId="ADAL" clId="{43491469-63E5-4AF4-A451-2151A57B2BCA}" dt="2023-05-23T10:50:13.864" v="9030"/>
          <ac:spMkLst>
            <pc:docMk/>
            <pc:sldMk cId="844873446" sldId="713"/>
            <ac:spMk id="113" creationId="{1B9F4CEB-2306-13DC-6216-FB227B3E4078}"/>
          </ac:spMkLst>
        </pc:spChg>
        <pc:spChg chg="add del mod replST">
          <ac:chgData name="Alexandre Mercier" userId="b4fbace6-72ad-4592-b27d-535191bf0bec" providerId="ADAL" clId="{43491469-63E5-4AF4-A451-2151A57B2BCA}" dt="2023-05-23T10:50:13.863" v="9029"/>
          <ac:spMkLst>
            <pc:docMk/>
            <pc:sldMk cId="844873446" sldId="713"/>
            <ac:spMk id="114" creationId="{44684C6B-FFD6-575C-931F-18C363B88CB8}"/>
          </ac:spMkLst>
        </pc:spChg>
        <pc:spChg chg="add del mod replST">
          <ac:chgData name="Alexandre Mercier" userId="b4fbace6-72ad-4592-b27d-535191bf0bec" providerId="ADAL" clId="{43491469-63E5-4AF4-A451-2151A57B2BCA}" dt="2023-05-23T10:50:13.863" v="9028"/>
          <ac:spMkLst>
            <pc:docMk/>
            <pc:sldMk cId="844873446" sldId="713"/>
            <ac:spMk id="115" creationId="{811F6551-6BDB-C8B6-9E45-019CFF27C8DE}"/>
          </ac:spMkLst>
        </pc:spChg>
        <pc:spChg chg="add del mod replST">
          <ac:chgData name="Alexandre Mercier" userId="b4fbace6-72ad-4592-b27d-535191bf0bec" providerId="ADAL" clId="{43491469-63E5-4AF4-A451-2151A57B2BCA}" dt="2023-05-23T10:50:13.867" v="9034"/>
          <ac:spMkLst>
            <pc:docMk/>
            <pc:sldMk cId="844873446" sldId="713"/>
            <ac:spMk id="116" creationId="{EF774DD9-788E-49A4-2812-850397D988E5}"/>
          </ac:spMkLst>
        </pc:spChg>
        <pc:spChg chg="add del mod ord replST">
          <ac:chgData name="Alexandre Mercier" userId="b4fbace6-72ad-4592-b27d-535191bf0bec" providerId="ADAL" clId="{43491469-63E5-4AF4-A451-2151A57B2BCA}" dt="2023-05-23T10:50:13.867" v="9036"/>
          <ac:spMkLst>
            <pc:docMk/>
            <pc:sldMk cId="844873446" sldId="713"/>
            <ac:spMk id="117" creationId="{87E8CC29-4FE4-25D5-B641-A640D224BD44}"/>
          </ac:spMkLst>
        </pc:spChg>
        <pc:spChg chg="add del mod replST">
          <ac:chgData name="Alexandre Mercier" userId="b4fbace6-72ad-4592-b27d-535191bf0bec" providerId="ADAL" clId="{43491469-63E5-4AF4-A451-2151A57B2BCA}" dt="2023-05-23T10:50:13.869" v="9039"/>
          <ac:spMkLst>
            <pc:docMk/>
            <pc:sldMk cId="844873446" sldId="713"/>
            <ac:spMk id="119" creationId="{C13492BA-A371-0C8A-817B-A308FAE7F68E}"/>
          </ac:spMkLst>
        </pc:spChg>
        <pc:spChg chg="add del mod ord replST">
          <ac:chgData name="Alexandre Mercier" userId="b4fbace6-72ad-4592-b27d-535191bf0bec" providerId="ADAL" clId="{43491469-63E5-4AF4-A451-2151A57B2BCA}" dt="2023-05-23T10:50:13.870" v="9041"/>
          <ac:spMkLst>
            <pc:docMk/>
            <pc:sldMk cId="844873446" sldId="713"/>
            <ac:spMk id="120" creationId="{CC24DBCD-7F15-C205-2E38-60BD0F0F8D34}"/>
          </ac:spMkLst>
        </pc:spChg>
        <pc:spChg chg="add del mod replST">
          <ac:chgData name="Alexandre Mercier" userId="b4fbace6-72ad-4592-b27d-535191bf0bec" providerId="ADAL" clId="{43491469-63E5-4AF4-A451-2151A57B2BCA}" dt="2023-05-23T10:59:41.080" v="26416"/>
          <ac:spMkLst>
            <pc:docMk/>
            <pc:sldMk cId="844873446" sldId="713"/>
            <ac:spMk id="161" creationId="{D2F94D82-AC03-2FED-3B01-463010F0E3DD}"/>
          </ac:spMkLst>
        </pc:spChg>
        <pc:spChg chg="add del mod modVis">
          <ac:chgData name="Alexandre Mercier" userId="b4fbace6-72ad-4592-b27d-535191bf0bec" providerId="ADAL" clId="{43491469-63E5-4AF4-A451-2151A57B2BCA}" dt="2023-05-23T10:50:22.658" v="11089"/>
          <ac:spMkLst>
            <pc:docMk/>
            <pc:sldMk cId="844873446" sldId="713"/>
            <ac:spMk id="162" creationId="{306A09D0-64FE-9844-E9C4-D1BDE42C7DBE}"/>
          </ac:spMkLst>
        </pc:spChg>
        <pc:spChg chg="add del mod replST">
          <ac:chgData name="Alexandre Mercier" userId="b4fbace6-72ad-4592-b27d-535191bf0bec" providerId="ADAL" clId="{43491469-63E5-4AF4-A451-2151A57B2BCA}" dt="2023-05-23T10:59:41.081" v="26417"/>
          <ac:spMkLst>
            <pc:docMk/>
            <pc:sldMk cId="844873446" sldId="713"/>
            <ac:spMk id="163" creationId="{F039DE47-64B0-DEC2-022A-B0E810EF4D57}"/>
          </ac:spMkLst>
        </pc:spChg>
        <pc:spChg chg="add del mod replST">
          <ac:chgData name="Alexandre Mercier" userId="b4fbace6-72ad-4592-b27d-535191bf0bec" providerId="ADAL" clId="{43491469-63E5-4AF4-A451-2151A57B2BCA}" dt="2023-05-23T10:59:41.081" v="26418"/>
          <ac:spMkLst>
            <pc:docMk/>
            <pc:sldMk cId="844873446" sldId="713"/>
            <ac:spMk id="164" creationId="{149565B5-30D0-00FA-386E-7947DEE972D0}"/>
          </ac:spMkLst>
        </pc:spChg>
        <pc:spChg chg="add del mod replST">
          <ac:chgData name="Alexandre Mercier" userId="b4fbace6-72ad-4592-b27d-535191bf0bec" providerId="ADAL" clId="{43491469-63E5-4AF4-A451-2151A57B2BCA}" dt="2023-05-23T10:59:41.081" v="26419"/>
          <ac:spMkLst>
            <pc:docMk/>
            <pc:sldMk cId="844873446" sldId="713"/>
            <ac:spMk id="165" creationId="{3D2019F7-DC46-0791-736F-15A39D6F210B}"/>
          </ac:spMkLst>
        </pc:spChg>
        <pc:spChg chg="add del mod replST">
          <ac:chgData name="Alexandre Mercier" userId="b4fbace6-72ad-4592-b27d-535191bf0bec" providerId="ADAL" clId="{43491469-63E5-4AF4-A451-2151A57B2BCA}" dt="2023-05-23T10:59:41.082" v="26420"/>
          <ac:spMkLst>
            <pc:docMk/>
            <pc:sldMk cId="844873446" sldId="713"/>
            <ac:spMk id="166" creationId="{AB2FC0CE-F176-1EE5-64FE-FD6EC41A575B}"/>
          </ac:spMkLst>
        </pc:spChg>
        <pc:spChg chg="add del mod replST">
          <ac:chgData name="Alexandre Mercier" userId="b4fbace6-72ad-4592-b27d-535191bf0bec" providerId="ADAL" clId="{43491469-63E5-4AF4-A451-2151A57B2BCA}" dt="2023-05-23T10:59:41.083" v="26421"/>
          <ac:spMkLst>
            <pc:docMk/>
            <pc:sldMk cId="844873446" sldId="713"/>
            <ac:spMk id="167" creationId="{CFA17598-86E4-2BA6-27FA-996A50776218}"/>
          </ac:spMkLst>
        </pc:spChg>
        <pc:spChg chg="add del mod replST">
          <ac:chgData name="Alexandre Mercier" userId="b4fbace6-72ad-4592-b27d-535191bf0bec" providerId="ADAL" clId="{43491469-63E5-4AF4-A451-2151A57B2BCA}" dt="2023-05-23T10:59:41.083" v="26422"/>
          <ac:spMkLst>
            <pc:docMk/>
            <pc:sldMk cId="844873446" sldId="713"/>
            <ac:spMk id="168" creationId="{35684A22-C9B4-F904-B4F6-067A7BFB4B46}"/>
          </ac:spMkLst>
        </pc:spChg>
        <pc:spChg chg="add del mod replST">
          <ac:chgData name="Alexandre Mercier" userId="b4fbace6-72ad-4592-b27d-535191bf0bec" providerId="ADAL" clId="{43491469-63E5-4AF4-A451-2151A57B2BCA}" dt="2023-05-23T10:59:41.084" v="26423"/>
          <ac:spMkLst>
            <pc:docMk/>
            <pc:sldMk cId="844873446" sldId="713"/>
            <ac:spMk id="169" creationId="{D9B14CA4-2571-B0FD-60C9-3970B88E2334}"/>
          </ac:spMkLst>
        </pc:spChg>
        <pc:spChg chg="add del mod replST">
          <ac:chgData name="Alexandre Mercier" userId="b4fbace6-72ad-4592-b27d-535191bf0bec" providerId="ADAL" clId="{43491469-63E5-4AF4-A451-2151A57B2BCA}" dt="2023-05-23T10:59:41.084" v="26424"/>
          <ac:spMkLst>
            <pc:docMk/>
            <pc:sldMk cId="844873446" sldId="713"/>
            <ac:spMk id="170" creationId="{9DFA940E-317B-2461-65A4-E042AF1EAD94}"/>
          </ac:spMkLst>
        </pc:spChg>
        <pc:spChg chg="add del mod replST">
          <ac:chgData name="Alexandre Mercier" userId="b4fbace6-72ad-4592-b27d-535191bf0bec" providerId="ADAL" clId="{43491469-63E5-4AF4-A451-2151A57B2BCA}" dt="2023-05-23T10:59:41.084" v="26425"/>
          <ac:spMkLst>
            <pc:docMk/>
            <pc:sldMk cId="844873446" sldId="713"/>
            <ac:spMk id="171" creationId="{A182E356-3F8F-8DCF-5260-BE6540617668}"/>
          </ac:spMkLst>
        </pc:spChg>
        <pc:spChg chg="add del mod replST">
          <ac:chgData name="Alexandre Mercier" userId="b4fbace6-72ad-4592-b27d-535191bf0bec" providerId="ADAL" clId="{43491469-63E5-4AF4-A451-2151A57B2BCA}" dt="2023-05-23T10:59:41.085" v="26426"/>
          <ac:spMkLst>
            <pc:docMk/>
            <pc:sldMk cId="844873446" sldId="713"/>
            <ac:spMk id="172" creationId="{FBA31932-8EA4-01F8-3B06-3C882F28D4EE}"/>
          </ac:spMkLst>
        </pc:spChg>
        <pc:spChg chg="add del mod replST">
          <ac:chgData name="Alexandre Mercier" userId="b4fbace6-72ad-4592-b27d-535191bf0bec" providerId="ADAL" clId="{43491469-63E5-4AF4-A451-2151A57B2BCA}" dt="2023-05-23T10:59:41.085" v="26427"/>
          <ac:spMkLst>
            <pc:docMk/>
            <pc:sldMk cId="844873446" sldId="713"/>
            <ac:spMk id="173" creationId="{1FB04E08-0589-1B93-0000-29C1AAF6E886}"/>
          </ac:spMkLst>
        </pc:spChg>
        <pc:spChg chg="add del mod replST">
          <ac:chgData name="Alexandre Mercier" userId="b4fbace6-72ad-4592-b27d-535191bf0bec" providerId="ADAL" clId="{43491469-63E5-4AF4-A451-2151A57B2BCA}" dt="2023-05-23T10:59:41.085" v="26428"/>
          <ac:spMkLst>
            <pc:docMk/>
            <pc:sldMk cId="844873446" sldId="713"/>
            <ac:spMk id="174" creationId="{7ACB6FBD-3BBD-B404-4D03-1A93D3D8126B}"/>
          </ac:spMkLst>
        </pc:spChg>
        <pc:spChg chg="add del mod replST">
          <ac:chgData name="Alexandre Mercier" userId="b4fbace6-72ad-4592-b27d-535191bf0bec" providerId="ADAL" clId="{43491469-63E5-4AF4-A451-2151A57B2BCA}" dt="2023-05-23T10:59:41.086" v="26429"/>
          <ac:spMkLst>
            <pc:docMk/>
            <pc:sldMk cId="844873446" sldId="713"/>
            <ac:spMk id="175" creationId="{B7997E95-91A8-B099-6843-D24BA4E27F92}"/>
          </ac:spMkLst>
        </pc:spChg>
        <pc:spChg chg="add del mod replST">
          <ac:chgData name="Alexandre Mercier" userId="b4fbace6-72ad-4592-b27d-535191bf0bec" providerId="ADAL" clId="{43491469-63E5-4AF4-A451-2151A57B2BCA}" dt="2023-05-23T10:59:41.086" v="26430"/>
          <ac:spMkLst>
            <pc:docMk/>
            <pc:sldMk cId="844873446" sldId="713"/>
            <ac:spMk id="176" creationId="{87CBD747-7F02-5C7F-B901-BA2CE87A81D4}"/>
          </ac:spMkLst>
        </pc:spChg>
        <pc:spChg chg="add del mod replST">
          <ac:chgData name="Alexandre Mercier" userId="b4fbace6-72ad-4592-b27d-535191bf0bec" providerId="ADAL" clId="{43491469-63E5-4AF4-A451-2151A57B2BCA}" dt="2023-05-23T10:59:41.086" v="26431"/>
          <ac:spMkLst>
            <pc:docMk/>
            <pc:sldMk cId="844873446" sldId="713"/>
            <ac:spMk id="177" creationId="{C8B72720-927F-19CD-36FA-FC97F6B616C7}"/>
          </ac:spMkLst>
        </pc:spChg>
        <pc:spChg chg="add del mod replST">
          <ac:chgData name="Alexandre Mercier" userId="b4fbace6-72ad-4592-b27d-535191bf0bec" providerId="ADAL" clId="{43491469-63E5-4AF4-A451-2151A57B2BCA}" dt="2023-05-23T10:59:41.086" v="26432"/>
          <ac:spMkLst>
            <pc:docMk/>
            <pc:sldMk cId="844873446" sldId="713"/>
            <ac:spMk id="178" creationId="{67733BA1-BC6A-A7DE-320D-CD2189292C84}"/>
          </ac:spMkLst>
        </pc:spChg>
        <pc:spChg chg="add del mod replST">
          <ac:chgData name="Alexandre Mercier" userId="b4fbace6-72ad-4592-b27d-535191bf0bec" providerId="ADAL" clId="{43491469-63E5-4AF4-A451-2151A57B2BCA}" dt="2023-05-23T10:59:41.087" v="26433"/>
          <ac:spMkLst>
            <pc:docMk/>
            <pc:sldMk cId="844873446" sldId="713"/>
            <ac:spMk id="179" creationId="{6F830BA1-B089-DE10-3474-67FA8C464C00}"/>
          </ac:spMkLst>
        </pc:spChg>
        <pc:spChg chg="add del mod replST">
          <ac:chgData name="Alexandre Mercier" userId="b4fbace6-72ad-4592-b27d-535191bf0bec" providerId="ADAL" clId="{43491469-63E5-4AF4-A451-2151A57B2BCA}" dt="2023-05-23T10:59:41.088" v="26434"/>
          <ac:spMkLst>
            <pc:docMk/>
            <pc:sldMk cId="844873446" sldId="713"/>
            <ac:spMk id="180" creationId="{8BCEAB99-669D-A29E-356C-1C5C32B176E0}"/>
          </ac:spMkLst>
        </pc:spChg>
        <pc:spChg chg="add del mod replST">
          <ac:chgData name="Alexandre Mercier" userId="b4fbace6-72ad-4592-b27d-535191bf0bec" providerId="ADAL" clId="{43491469-63E5-4AF4-A451-2151A57B2BCA}" dt="2023-05-23T10:59:41.088" v="26435"/>
          <ac:spMkLst>
            <pc:docMk/>
            <pc:sldMk cId="844873446" sldId="713"/>
            <ac:spMk id="181" creationId="{D551B0D8-EB1A-D270-5C38-BA34A190C282}"/>
          </ac:spMkLst>
        </pc:spChg>
        <pc:spChg chg="add del mod replST">
          <ac:chgData name="Alexandre Mercier" userId="b4fbace6-72ad-4592-b27d-535191bf0bec" providerId="ADAL" clId="{43491469-63E5-4AF4-A451-2151A57B2BCA}" dt="2023-05-23T10:59:41.089" v="26436"/>
          <ac:spMkLst>
            <pc:docMk/>
            <pc:sldMk cId="844873446" sldId="713"/>
            <ac:spMk id="182" creationId="{AC8C98D1-34C9-E476-BDB9-163860892F8D}"/>
          </ac:spMkLst>
        </pc:spChg>
        <pc:spChg chg="add del mod replST">
          <ac:chgData name="Alexandre Mercier" userId="b4fbace6-72ad-4592-b27d-535191bf0bec" providerId="ADAL" clId="{43491469-63E5-4AF4-A451-2151A57B2BCA}" dt="2023-05-23T10:59:41.089" v="26437"/>
          <ac:spMkLst>
            <pc:docMk/>
            <pc:sldMk cId="844873446" sldId="713"/>
            <ac:spMk id="183" creationId="{C98D0F47-DB21-E586-F41F-4632B0C5F6F5}"/>
          </ac:spMkLst>
        </pc:spChg>
        <pc:spChg chg="add del mod replST">
          <ac:chgData name="Alexandre Mercier" userId="b4fbace6-72ad-4592-b27d-535191bf0bec" providerId="ADAL" clId="{43491469-63E5-4AF4-A451-2151A57B2BCA}" dt="2023-05-23T10:59:41.089" v="26438"/>
          <ac:spMkLst>
            <pc:docMk/>
            <pc:sldMk cId="844873446" sldId="713"/>
            <ac:spMk id="184" creationId="{BD2600A5-D951-9D9B-6597-B43CFB44C151}"/>
          </ac:spMkLst>
        </pc:spChg>
        <pc:spChg chg="add del mod replST">
          <ac:chgData name="Alexandre Mercier" userId="b4fbace6-72ad-4592-b27d-535191bf0bec" providerId="ADAL" clId="{43491469-63E5-4AF4-A451-2151A57B2BCA}" dt="2023-05-23T10:59:41.090" v="26439"/>
          <ac:spMkLst>
            <pc:docMk/>
            <pc:sldMk cId="844873446" sldId="713"/>
            <ac:spMk id="185" creationId="{30776B0B-EE2B-46D4-9C26-1DD9FEC52E0B}"/>
          </ac:spMkLst>
        </pc:spChg>
        <pc:spChg chg="add del mod replST">
          <ac:chgData name="Alexandre Mercier" userId="b4fbace6-72ad-4592-b27d-535191bf0bec" providerId="ADAL" clId="{43491469-63E5-4AF4-A451-2151A57B2BCA}" dt="2023-05-23T10:59:41.090" v="26440"/>
          <ac:spMkLst>
            <pc:docMk/>
            <pc:sldMk cId="844873446" sldId="713"/>
            <ac:spMk id="186" creationId="{6D5E63C5-91B5-E6D2-CEB5-9FA9BB48DCDD}"/>
          </ac:spMkLst>
        </pc:spChg>
        <pc:spChg chg="add del mod replST">
          <ac:chgData name="Alexandre Mercier" userId="b4fbace6-72ad-4592-b27d-535191bf0bec" providerId="ADAL" clId="{43491469-63E5-4AF4-A451-2151A57B2BCA}" dt="2023-05-23T10:59:41.091" v="26441"/>
          <ac:spMkLst>
            <pc:docMk/>
            <pc:sldMk cId="844873446" sldId="713"/>
            <ac:spMk id="187" creationId="{C80E4C5B-7E1C-DC68-CDEF-9361E78904EB}"/>
          </ac:spMkLst>
        </pc:spChg>
        <pc:spChg chg="add del mod replST">
          <ac:chgData name="Alexandre Mercier" userId="b4fbace6-72ad-4592-b27d-535191bf0bec" providerId="ADAL" clId="{43491469-63E5-4AF4-A451-2151A57B2BCA}" dt="2023-05-23T10:59:41.091" v="26442"/>
          <ac:spMkLst>
            <pc:docMk/>
            <pc:sldMk cId="844873446" sldId="713"/>
            <ac:spMk id="188" creationId="{A860925C-0FB4-BB87-FE22-6F12A7EF474B}"/>
          </ac:spMkLst>
        </pc:spChg>
        <pc:spChg chg="add del mod replST">
          <ac:chgData name="Alexandre Mercier" userId="b4fbace6-72ad-4592-b27d-535191bf0bec" providerId="ADAL" clId="{43491469-63E5-4AF4-A451-2151A57B2BCA}" dt="2023-05-23T10:59:41.091" v="26443"/>
          <ac:spMkLst>
            <pc:docMk/>
            <pc:sldMk cId="844873446" sldId="713"/>
            <ac:spMk id="189" creationId="{EDDA32BA-750B-34C2-8F25-BCA9B17FD86D}"/>
          </ac:spMkLst>
        </pc:spChg>
        <pc:spChg chg="add del mod replST">
          <ac:chgData name="Alexandre Mercier" userId="b4fbace6-72ad-4592-b27d-535191bf0bec" providerId="ADAL" clId="{43491469-63E5-4AF4-A451-2151A57B2BCA}" dt="2023-05-23T10:59:41.092" v="26444"/>
          <ac:spMkLst>
            <pc:docMk/>
            <pc:sldMk cId="844873446" sldId="713"/>
            <ac:spMk id="190" creationId="{111300E9-F5B0-D13A-F2DB-B26673B3DCC0}"/>
          </ac:spMkLst>
        </pc:spChg>
        <pc:spChg chg="add del mod replST">
          <ac:chgData name="Alexandre Mercier" userId="b4fbace6-72ad-4592-b27d-535191bf0bec" providerId="ADAL" clId="{43491469-63E5-4AF4-A451-2151A57B2BCA}" dt="2023-05-23T10:59:41.093" v="26445"/>
          <ac:spMkLst>
            <pc:docMk/>
            <pc:sldMk cId="844873446" sldId="713"/>
            <ac:spMk id="191" creationId="{51C45ACF-51FE-8312-1075-40D00CC28CD4}"/>
          </ac:spMkLst>
        </pc:spChg>
        <pc:spChg chg="add del mod replST">
          <ac:chgData name="Alexandre Mercier" userId="b4fbace6-72ad-4592-b27d-535191bf0bec" providerId="ADAL" clId="{43491469-63E5-4AF4-A451-2151A57B2BCA}" dt="2023-05-23T10:59:41.093" v="26446"/>
          <ac:spMkLst>
            <pc:docMk/>
            <pc:sldMk cId="844873446" sldId="713"/>
            <ac:spMk id="192" creationId="{E458FD7F-A6FE-2901-6DE6-582AA66EF359}"/>
          </ac:spMkLst>
        </pc:spChg>
        <pc:spChg chg="add del mod replST">
          <ac:chgData name="Alexandre Mercier" userId="b4fbace6-72ad-4592-b27d-535191bf0bec" providerId="ADAL" clId="{43491469-63E5-4AF4-A451-2151A57B2BCA}" dt="2023-05-23T10:59:41.094" v="26447"/>
          <ac:spMkLst>
            <pc:docMk/>
            <pc:sldMk cId="844873446" sldId="713"/>
            <ac:spMk id="193" creationId="{E8763A77-2038-79DE-9125-092EA0A74811}"/>
          </ac:spMkLst>
        </pc:spChg>
        <pc:spChg chg="add del mod replST">
          <ac:chgData name="Alexandre Mercier" userId="b4fbace6-72ad-4592-b27d-535191bf0bec" providerId="ADAL" clId="{43491469-63E5-4AF4-A451-2151A57B2BCA}" dt="2023-05-23T10:59:41.094" v="26448"/>
          <ac:spMkLst>
            <pc:docMk/>
            <pc:sldMk cId="844873446" sldId="713"/>
            <ac:spMk id="194" creationId="{867C3C03-2A46-675B-74D8-7D06A7BCEABA}"/>
          </ac:spMkLst>
        </pc:spChg>
        <pc:spChg chg="add del mod replST">
          <ac:chgData name="Alexandre Mercier" userId="b4fbace6-72ad-4592-b27d-535191bf0bec" providerId="ADAL" clId="{43491469-63E5-4AF4-A451-2151A57B2BCA}" dt="2023-05-23T10:59:41.094" v="26449"/>
          <ac:spMkLst>
            <pc:docMk/>
            <pc:sldMk cId="844873446" sldId="713"/>
            <ac:spMk id="195" creationId="{9D3AE9AC-CA18-4EFE-9A59-4DD88DC371B6}"/>
          </ac:spMkLst>
        </pc:spChg>
        <pc:spChg chg="add mod replST">
          <ac:chgData name="Alexandre Mercier" userId="b4fbace6-72ad-4592-b27d-535191bf0bec" providerId="ADAL" clId="{43491469-63E5-4AF4-A451-2151A57B2BCA}" dt="2023-05-25T09:18:44.047" v="43415"/>
          <ac:spMkLst>
            <pc:docMk/>
            <pc:sldMk cId="844873446" sldId="713"/>
            <ac:spMk id="196" creationId="{457C729C-9154-5A51-B602-E1B0457977B5}"/>
          </ac:spMkLst>
        </pc:spChg>
        <pc:spChg chg="add mod replST">
          <ac:chgData name="Alexandre Mercier" userId="b4fbace6-72ad-4592-b27d-535191bf0bec" providerId="ADAL" clId="{43491469-63E5-4AF4-A451-2151A57B2BCA}" dt="2023-05-25T09:18:44.062" v="43416"/>
          <ac:spMkLst>
            <pc:docMk/>
            <pc:sldMk cId="844873446" sldId="713"/>
            <ac:spMk id="197" creationId="{538E57CA-86AE-B30B-7B6F-78DAEA368B01}"/>
          </ac:spMkLst>
        </pc:spChg>
        <pc:spChg chg="add mod replST">
          <ac:chgData name="Alexandre Mercier" userId="b4fbace6-72ad-4592-b27d-535191bf0bec" providerId="ADAL" clId="{43491469-63E5-4AF4-A451-2151A57B2BCA}" dt="2023-05-25T09:18:44.062" v="43417"/>
          <ac:spMkLst>
            <pc:docMk/>
            <pc:sldMk cId="844873446" sldId="713"/>
            <ac:spMk id="198" creationId="{7A23BC8E-8A4C-9667-BA1C-BCFB63B1B5C5}"/>
          </ac:spMkLst>
        </pc:spChg>
        <pc:spChg chg="add mod replST">
          <ac:chgData name="Alexandre Mercier" userId="b4fbace6-72ad-4592-b27d-535191bf0bec" providerId="ADAL" clId="{43491469-63E5-4AF4-A451-2151A57B2BCA}" dt="2023-05-25T09:18:44.062" v="43418"/>
          <ac:spMkLst>
            <pc:docMk/>
            <pc:sldMk cId="844873446" sldId="713"/>
            <ac:spMk id="199" creationId="{F7B939CB-BA2C-8C38-C6F1-981572F72262}"/>
          </ac:spMkLst>
        </pc:spChg>
        <pc:spChg chg="add mod replST">
          <ac:chgData name="Alexandre Mercier" userId="b4fbace6-72ad-4592-b27d-535191bf0bec" providerId="ADAL" clId="{43491469-63E5-4AF4-A451-2151A57B2BCA}" dt="2023-05-25T09:18:44.069" v="43419"/>
          <ac:spMkLst>
            <pc:docMk/>
            <pc:sldMk cId="844873446" sldId="713"/>
            <ac:spMk id="200" creationId="{03DCE760-A41C-B8DB-11DC-1643A64B488E}"/>
          </ac:spMkLst>
        </pc:spChg>
        <pc:spChg chg="add mod replST">
          <ac:chgData name="Alexandre Mercier" userId="b4fbace6-72ad-4592-b27d-535191bf0bec" providerId="ADAL" clId="{43491469-63E5-4AF4-A451-2151A57B2BCA}" dt="2023-05-25T09:18:44.069" v="43420"/>
          <ac:spMkLst>
            <pc:docMk/>
            <pc:sldMk cId="844873446" sldId="713"/>
            <ac:spMk id="201" creationId="{98D30C99-638D-59BF-0916-F76D41B23094}"/>
          </ac:spMkLst>
        </pc:spChg>
        <pc:spChg chg="add mod replST">
          <ac:chgData name="Alexandre Mercier" userId="b4fbace6-72ad-4592-b27d-535191bf0bec" providerId="ADAL" clId="{43491469-63E5-4AF4-A451-2151A57B2BCA}" dt="2023-05-25T09:18:44.069" v="43421"/>
          <ac:spMkLst>
            <pc:docMk/>
            <pc:sldMk cId="844873446" sldId="713"/>
            <ac:spMk id="202" creationId="{5197CFCE-82B5-2EA8-0CEE-F83825E6F43B}"/>
          </ac:spMkLst>
        </pc:spChg>
        <pc:spChg chg="add mod replST">
          <ac:chgData name="Alexandre Mercier" userId="b4fbace6-72ad-4592-b27d-535191bf0bec" providerId="ADAL" clId="{43491469-63E5-4AF4-A451-2151A57B2BCA}" dt="2023-05-25T09:18:44.031" v="43407"/>
          <ac:spMkLst>
            <pc:docMk/>
            <pc:sldMk cId="844873446" sldId="713"/>
            <ac:spMk id="203" creationId="{3F699C49-60B0-94E7-C89D-8E3B224BBBEC}"/>
          </ac:spMkLst>
        </pc:spChg>
        <pc:spChg chg="add mod ord replST">
          <ac:chgData name="Alexandre Mercier" userId="b4fbace6-72ad-4592-b27d-535191bf0bec" providerId="ADAL" clId="{43491469-63E5-4AF4-A451-2151A57B2BCA}" dt="2023-05-25T09:18:19.035" v="43248"/>
          <ac:spMkLst>
            <pc:docMk/>
            <pc:sldMk cId="844873446" sldId="713"/>
            <ac:spMk id="204" creationId="{4239EC27-29C7-FF6E-7906-641162B89381}"/>
          </ac:spMkLst>
        </pc:spChg>
        <pc:spChg chg="add del mod replST">
          <ac:chgData name="Alexandre Mercier" userId="b4fbace6-72ad-4592-b27d-535191bf0bec" providerId="ADAL" clId="{43491469-63E5-4AF4-A451-2151A57B2BCA}" dt="2023-05-23T10:57:40.981" v="23355"/>
          <ac:spMkLst>
            <pc:docMk/>
            <pc:sldMk cId="844873446" sldId="713"/>
            <ac:spMk id="206" creationId="{F165DB15-038A-C285-1333-84E68634BED5}"/>
          </ac:spMkLst>
        </pc:spChg>
        <pc:spChg chg="add del mod ord replST">
          <ac:chgData name="Alexandre Mercier" userId="b4fbace6-72ad-4592-b27d-535191bf0bec" providerId="ADAL" clId="{43491469-63E5-4AF4-A451-2151A57B2BCA}" dt="2023-05-23T11:03:16.718" v="35697"/>
          <ac:spMkLst>
            <pc:docMk/>
            <pc:sldMk cId="844873446" sldId="713"/>
            <ac:spMk id="207" creationId="{C51A7FEE-2756-3D00-6821-8EF088ADD8C9}"/>
          </ac:spMkLst>
        </pc:spChg>
        <pc:spChg chg="add del mod ord replST">
          <ac:chgData name="Alexandre Mercier" userId="b4fbace6-72ad-4592-b27d-535191bf0bec" providerId="ADAL" clId="{43491469-63E5-4AF4-A451-2151A57B2BCA}" dt="2023-05-23T10:57:42.798" v="23597"/>
          <ac:spMkLst>
            <pc:docMk/>
            <pc:sldMk cId="844873446" sldId="713"/>
            <ac:spMk id="249" creationId="{70182268-B368-BA81-B5A7-08DA208DDB9B}"/>
          </ac:spMkLst>
        </pc:spChg>
        <pc:spChg chg="add del mod ord replST">
          <ac:chgData name="Alexandre Mercier" userId="b4fbace6-72ad-4592-b27d-535191bf0bec" providerId="ADAL" clId="{43491469-63E5-4AF4-A451-2151A57B2BCA}" dt="2023-05-23T10:57:42.796" v="23593"/>
          <ac:spMkLst>
            <pc:docMk/>
            <pc:sldMk cId="844873446" sldId="713"/>
            <ac:spMk id="250" creationId="{A2CAC3F8-9D0E-9DA7-8787-C84CFE76FBD3}"/>
          </ac:spMkLst>
        </pc:spChg>
        <pc:spChg chg="add del mod ord replST">
          <ac:chgData name="Alexandre Mercier" userId="b4fbace6-72ad-4592-b27d-535191bf0bec" providerId="ADAL" clId="{43491469-63E5-4AF4-A451-2151A57B2BCA}" dt="2023-05-23T10:57:42.797" v="23595"/>
          <ac:spMkLst>
            <pc:docMk/>
            <pc:sldMk cId="844873446" sldId="713"/>
            <ac:spMk id="251" creationId="{FE5CAA47-2DCD-4585-D55C-86AD48EF81CC}"/>
          </ac:spMkLst>
        </pc:spChg>
        <pc:spChg chg="add del mod modVis">
          <ac:chgData name="Alexandre Mercier" userId="b4fbace6-72ad-4592-b27d-535191bf0bec" providerId="ADAL" clId="{43491469-63E5-4AF4-A451-2151A57B2BCA}" dt="2023-05-23T10:52:01.067" v="12454"/>
          <ac:spMkLst>
            <pc:docMk/>
            <pc:sldMk cId="844873446" sldId="713"/>
            <ac:spMk id="252" creationId="{F1ADB060-4661-9E2E-8BFE-446F7E7D59AC}"/>
          </ac:spMkLst>
        </pc:spChg>
        <pc:spChg chg="add del mod replST">
          <ac:chgData name="Alexandre Mercier" userId="b4fbace6-72ad-4592-b27d-535191bf0bec" providerId="ADAL" clId="{43491469-63E5-4AF4-A451-2151A57B2BCA}" dt="2023-05-23T10:52:57.904" v="14133"/>
          <ac:spMkLst>
            <pc:docMk/>
            <pc:sldMk cId="844873446" sldId="713"/>
            <ac:spMk id="253" creationId="{43C21B1A-E5F9-370F-112D-72F754AC2810}"/>
          </ac:spMkLst>
        </pc:spChg>
        <pc:spChg chg="add del mod modVis">
          <ac:chgData name="Alexandre Mercier" userId="b4fbace6-72ad-4592-b27d-535191bf0bec" providerId="ADAL" clId="{43491469-63E5-4AF4-A451-2151A57B2BCA}" dt="2023-05-23T10:52:21.694" v="13324"/>
          <ac:spMkLst>
            <pc:docMk/>
            <pc:sldMk cId="844873446" sldId="713"/>
            <ac:spMk id="254" creationId="{1EBDCEC2-54F2-5AA9-D9D9-63F95EB2A2CC}"/>
          </ac:spMkLst>
        </pc:spChg>
        <pc:spChg chg="add del mod replST">
          <ac:chgData name="Alexandre Mercier" userId="b4fbace6-72ad-4592-b27d-535191bf0bec" providerId="ADAL" clId="{43491469-63E5-4AF4-A451-2151A57B2BCA}" dt="2023-05-23T10:52:57.902" v="14132"/>
          <ac:spMkLst>
            <pc:docMk/>
            <pc:sldMk cId="844873446" sldId="713"/>
            <ac:spMk id="255" creationId="{9DE239ED-3A08-CC25-1F82-DFE26B0554ED}"/>
          </ac:spMkLst>
        </pc:spChg>
        <pc:spChg chg="add del mod replST">
          <ac:chgData name="Alexandre Mercier" userId="b4fbace6-72ad-4592-b27d-535191bf0bec" providerId="ADAL" clId="{43491469-63E5-4AF4-A451-2151A57B2BCA}" dt="2023-05-23T10:52:57.900" v="14131"/>
          <ac:spMkLst>
            <pc:docMk/>
            <pc:sldMk cId="844873446" sldId="713"/>
            <ac:spMk id="256" creationId="{9EA87DF3-9245-0AFF-63ED-AF7A65AD8256}"/>
          </ac:spMkLst>
        </pc:spChg>
        <pc:spChg chg="add del mod ord replST">
          <ac:chgData name="Alexandre Mercier" userId="b4fbace6-72ad-4592-b27d-535191bf0bec" providerId="ADAL" clId="{43491469-63E5-4AF4-A451-2151A57B2BCA}" dt="2023-05-23T10:52:55.692" v="14072"/>
          <ac:spMkLst>
            <pc:docMk/>
            <pc:sldMk cId="844873446" sldId="713"/>
            <ac:spMk id="257" creationId="{A6BB45E0-4095-3D2E-4396-84AF05012117}"/>
          </ac:spMkLst>
        </pc:spChg>
        <pc:spChg chg="add del mod modVis">
          <ac:chgData name="Alexandre Mercier" userId="b4fbace6-72ad-4592-b27d-535191bf0bec" providerId="ADAL" clId="{43491469-63E5-4AF4-A451-2151A57B2BCA}" dt="2023-05-23T10:52:25.311" v="13434"/>
          <ac:spMkLst>
            <pc:docMk/>
            <pc:sldMk cId="844873446" sldId="713"/>
            <ac:spMk id="258" creationId="{C83A3A54-047D-9CE6-75BD-5CC8A71EEA88}"/>
          </ac:spMkLst>
        </pc:spChg>
        <pc:spChg chg="add del mod modVis">
          <ac:chgData name="Alexandre Mercier" userId="b4fbace6-72ad-4592-b27d-535191bf0bec" providerId="ADAL" clId="{43491469-63E5-4AF4-A451-2151A57B2BCA}" dt="2023-05-23T10:52:41.514" v="13544"/>
          <ac:spMkLst>
            <pc:docMk/>
            <pc:sldMk cId="844873446" sldId="713"/>
            <ac:spMk id="259" creationId="{B94F8766-BA94-0C51-B291-9FBF574BE672}"/>
          </ac:spMkLst>
        </pc:spChg>
        <pc:spChg chg="add del mod modVis">
          <ac:chgData name="Alexandre Mercier" userId="b4fbace6-72ad-4592-b27d-535191bf0bec" providerId="ADAL" clId="{43491469-63E5-4AF4-A451-2151A57B2BCA}" dt="2023-05-23T10:52:45.570" v="13630"/>
          <ac:spMkLst>
            <pc:docMk/>
            <pc:sldMk cId="844873446" sldId="713"/>
            <ac:spMk id="260" creationId="{8A172F91-C297-8D02-2E88-5D7400FD45B0}"/>
          </ac:spMkLst>
        </pc:spChg>
        <pc:spChg chg="add del mod modVis">
          <ac:chgData name="Alexandre Mercier" userId="b4fbace6-72ad-4592-b27d-535191bf0bec" providerId="ADAL" clId="{43491469-63E5-4AF4-A451-2151A57B2BCA}" dt="2023-05-23T10:53:10.887" v="14704"/>
          <ac:spMkLst>
            <pc:docMk/>
            <pc:sldMk cId="844873446" sldId="713"/>
            <ac:spMk id="261" creationId="{94897202-45F9-AFFA-1CAE-2D6503AAF03F}"/>
          </ac:spMkLst>
        </pc:spChg>
        <pc:spChg chg="add del mod modVis">
          <ac:chgData name="Alexandre Mercier" userId="b4fbace6-72ad-4592-b27d-535191bf0bec" providerId="ADAL" clId="{43491469-63E5-4AF4-A451-2151A57B2BCA}" dt="2023-05-23T10:53:14.446" v="14991"/>
          <ac:spMkLst>
            <pc:docMk/>
            <pc:sldMk cId="844873446" sldId="713"/>
            <ac:spMk id="263" creationId="{FEB19431-9E9A-B64A-C6EB-DE16F3CFFC37}"/>
          </ac:spMkLst>
        </pc:spChg>
        <pc:spChg chg="add del mod modVis">
          <ac:chgData name="Alexandre Mercier" userId="b4fbace6-72ad-4592-b27d-535191bf0bec" providerId="ADAL" clId="{43491469-63E5-4AF4-A451-2151A57B2BCA}" dt="2023-05-23T10:53:17.383" v="15279"/>
          <ac:spMkLst>
            <pc:docMk/>
            <pc:sldMk cId="844873446" sldId="713"/>
            <ac:spMk id="265" creationId="{57FD818A-CF76-C394-29C0-6FCA748544BA}"/>
          </ac:spMkLst>
        </pc:spChg>
        <pc:spChg chg="add mod ord replST">
          <ac:chgData name="Alexandre Mercier" userId="b4fbace6-72ad-4592-b27d-535191bf0bec" providerId="ADAL" clId="{43491469-63E5-4AF4-A451-2151A57B2BCA}" dt="2023-05-23T10:56:24.118" v="21066"/>
          <ac:spMkLst>
            <pc:docMk/>
            <pc:sldMk cId="844873446" sldId="713"/>
            <ac:spMk id="267" creationId="{C0DEE5AD-0E50-8D91-3192-AE62EC104F12}"/>
          </ac:spMkLst>
        </pc:spChg>
        <pc:spChg chg="add del mod modVis">
          <ac:chgData name="Alexandre Mercier" userId="b4fbace6-72ad-4592-b27d-535191bf0bec" providerId="ADAL" clId="{43491469-63E5-4AF4-A451-2151A57B2BCA}" dt="2023-05-23T10:56:24.118" v="21066"/>
          <ac:spMkLst>
            <pc:docMk/>
            <pc:sldMk cId="844873446" sldId="713"/>
            <ac:spMk id="268" creationId="{53D0F787-0AE0-6E9E-3CC5-62F3EE90B871}"/>
          </ac:spMkLst>
        </pc:spChg>
        <pc:spChg chg="add del mod ord replST delST">
          <ac:chgData name="Alexandre Mercier" userId="b4fbace6-72ad-4592-b27d-535191bf0bec" providerId="ADAL" clId="{43491469-63E5-4AF4-A451-2151A57B2BCA}" dt="2023-05-23T10:56:24.118" v="21066"/>
          <ac:spMkLst>
            <pc:docMk/>
            <pc:sldMk cId="844873446" sldId="713"/>
            <ac:spMk id="269" creationId="{41A2C438-B61C-275A-7591-480FE7799F38}"/>
          </ac:spMkLst>
        </pc:spChg>
        <pc:spChg chg="add del mod modVis">
          <ac:chgData name="Alexandre Mercier" userId="b4fbace6-72ad-4592-b27d-535191bf0bec" providerId="ADAL" clId="{43491469-63E5-4AF4-A451-2151A57B2BCA}" dt="2023-05-23T10:56:23.639" v="20949" actId="962"/>
          <ac:spMkLst>
            <pc:docMk/>
            <pc:sldMk cId="844873446" sldId="713"/>
            <ac:spMk id="270" creationId="{C5242CFF-92EB-7C4C-7AF3-5695CE4C1B3E}"/>
          </ac:spMkLst>
        </pc:spChg>
        <pc:spChg chg="add del mod modVis">
          <ac:chgData name="Alexandre Mercier" userId="b4fbace6-72ad-4592-b27d-535191bf0bec" providerId="ADAL" clId="{43491469-63E5-4AF4-A451-2151A57B2BCA}" dt="2023-05-23T10:56:21.917" v="20826"/>
          <ac:spMkLst>
            <pc:docMk/>
            <pc:sldMk cId="844873446" sldId="713"/>
            <ac:spMk id="271" creationId="{63C397A0-C7D3-65B1-4061-EB0849BBC22D}"/>
          </ac:spMkLst>
        </pc:spChg>
        <pc:spChg chg="add del mod replST delST">
          <ac:chgData name="Alexandre Mercier" userId="b4fbace6-72ad-4592-b27d-535191bf0bec" providerId="ADAL" clId="{43491469-63E5-4AF4-A451-2151A57B2BCA}" dt="2023-05-23T10:56:21.171" v="20721"/>
          <ac:spMkLst>
            <pc:docMk/>
            <pc:sldMk cId="844873446" sldId="713"/>
            <ac:spMk id="273" creationId="{A3091549-CEBA-6691-EBCC-AF3DB5C18B14}"/>
          </ac:spMkLst>
        </pc:spChg>
        <pc:spChg chg="add del mod modVis">
          <ac:chgData name="Alexandre Mercier" userId="b4fbace6-72ad-4592-b27d-535191bf0bec" providerId="ADAL" clId="{43491469-63E5-4AF4-A451-2151A57B2BCA}" dt="2023-05-23T10:56:21.171" v="20721"/>
          <ac:spMkLst>
            <pc:docMk/>
            <pc:sldMk cId="844873446" sldId="713"/>
            <ac:spMk id="274" creationId="{EFD3B362-6F54-928A-9584-C0E719165F9A}"/>
          </ac:spMkLst>
        </pc:spChg>
        <pc:spChg chg="add del mod replST delST">
          <ac:chgData name="Alexandre Mercier" userId="b4fbace6-72ad-4592-b27d-535191bf0bec" providerId="ADAL" clId="{43491469-63E5-4AF4-A451-2151A57B2BCA}" dt="2023-05-23T10:56:21.171" v="20721"/>
          <ac:spMkLst>
            <pc:docMk/>
            <pc:sldMk cId="844873446" sldId="713"/>
            <ac:spMk id="275" creationId="{7C307468-CE68-BAD0-5B68-3D699A40791E}"/>
          </ac:spMkLst>
        </pc:spChg>
        <pc:spChg chg="add del mod replST delST">
          <ac:chgData name="Alexandre Mercier" userId="b4fbace6-72ad-4592-b27d-535191bf0bec" providerId="ADAL" clId="{43491469-63E5-4AF4-A451-2151A57B2BCA}" dt="2023-05-23T10:56:21.171" v="20721"/>
          <ac:spMkLst>
            <pc:docMk/>
            <pc:sldMk cId="844873446" sldId="713"/>
            <ac:spMk id="276" creationId="{EABB50F9-9980-994A-3A70-1BB3EDAAD694}"/>
          </ac:spMkLst>
        </pc:spChg>
        <pc:spChg chg="add del mod ord replST delST">
          <ac:chgData name="Alexandre Mercier" userId="b4fbace6-72ad-4592-b27d-535191bf0bec" providerId="ADAL" clId="{43491469-63E5-4AF4-A451-2151A57B2BCA}" dt="2023-05-23T10:56:21.171" v="20721"/>
          <ac:spMkLst>
            <pc:docMk/>
            <pc:sldMk cId="844873446" sldId="713"/>
            <ac:spMk id="277" creationId="{367A8A60-F95F-4FCC-6812-34CF69993C94}"/>
          </ac:spMkLst>
        </pc:spChg>
        <pc:spChg chg="add del mod modVis">
          <ac:chgData name="Alexandre Mercier" userId="b4fbace6-72ad-4592-b27d-535191bf0bec" providerId="ADAL" clId="{43491469-63E5-4AF4-A451-2151A57B2BCA}" dt="2023-05-23T10:56:20.559" v="20444"/>
          <ac:spMkLst>
            <pc:docMk/>
            <pc:sldMk cId="844873446" sldId="713"/>
            <ac:spMk id="278" creationId="{1ADFF929-7A8F-13B7-248D-66B6B2461DF2}"/>
          </ac:spMkLst>
        </pc:spChg>
        <pc:spChg chg="add del mod modVis">
          <ac:chgData name="Alexandre Mercier" userId="b4fbace6-72ad-4592-b27d-535191bf0bec" providerId="ADAL" clId="{43491469-63E5-4AF4-A451-2151A57B2BCA}" dt="2023-05-23T10:56:20.087" v="20412"/>
          <ac:spMkLst>
            <pc:docMk/>
            <pc:sldMk cId="844873446" sldId="713"/>
            <ac:spMk id="279" creationId="{3D2D026E-2997-383F-2B6D-0CC3789899A5}"/>
          </ac:spMkLst>
        </pc:spChg>
        <pc:spChg chg="add del mod modVis">
          <ac:chgData name="Alexandre Mercier" userId="b4fbace6-72ad-4592-b27d-535191bf0bec" providerId="ADAL" clId="{43491469-63E5-4AF4-A451-2151A57B2BCA}" dt="2023-05-23T10:56:19.655" v="20380"/>
          <ac:spMkLst>
            <pc:docMk/>
            <pc:sldMk cId="844873446" sldId="713"/>
            <ac:spMk id="280" creationId="{1FFE162E-E531-597A-01A4-09611D73E219}"/>
          </ac:spMkLst>
        </pc:spChg>
        <pc:spChg chg="add del mod modVis">
          <ac:chgData name="Alexandre Mercier" userId="b4fbace6-72ad-4592-b27d-535191bf0bec" providerId="ADAL" clId="{43491469-63E5-4AF4-A451-2151A57B2BCA}" dt="2023-05-23T10:56:18.760" v="20348"/>
          <ac:spMkLst>
            <pc:docMk/>
            <pc:sldMk cId="844873446" sldId="713"/>
            <ac:spMk id="281" creationId="{BEB4ABF3-DAA7-A445-EED0-FD48FBAD8196}"/>
          </ac:spMkLst>
        </pc:spChg>
        <pc:spChg chg="add del mod modVis">
          <ac:chgData name="Alexandre Mercier" userId="b4fbace6-72ad-4592-b27d-535191bf0bec" providerId="ADAL" clId="{43491469-63E5-4AF4-A451-2151A57B2BCA}" dt="2023-05-23T10:56:17.776" v="20194" actId="962"/>
          <ac:spMkLst>
            <pc:docMk/>
            <pc:sldMk cId="844873446" sldId="713"/>
            <ac:spMk id="282" creationId="{3B6FE5E1-6346-542D-3FEC-797A1E54AC27}"/>
          </ac:spMkLst>
        </pc:spChg>
        <pc:spChg chg="add del mod ord replST delST">
          <ac:chgData name="Alexandre Mercier" userId="b4fbace6-72ad-4592-b27d-535191bf0bec" providerId="ADAL" clId="{43491469-63E5-4AF4-A451-2151A57B2BCA}" dt="2023-05-23T10:56:15.955" v="19967"/>
          <ac:spMkLst>
            <pc:docMk/>
            <pc:sldMk cId="844873446" sldId="713"/>
            <ac:spMk id="284" creationId="{B7427DFB-6E8E-A3BF-CC67-0FA7D51BC6FE}"/>
          </ac:spMkLst>
        </pc:spChg>
        <pc:spChg chg="add mod replST delST">
          <ac:chgData name="Alexandre Mercier" userId="b4fbace6-72ad-4592-b27d-535191bf0bec" providerId="ADAL" clId="{43491469-63E5-4AF4-A451-2151A57B2BCA}" dt="2023-05-23T10:56:14.457" v="19813"/>
          <ac:spMkLst>
            <pc:docMk/>
            <pc:sldMk cId="844873446" sldId="713"/>
            <ac:spMk id="285" creationId="{4472882C-D301-0552-49C4-7566C489F14D}"/>
          </ac:spMkLst>
        </pc:spChg>
        <pc:spChg chg="add del mod modVis">
          <ac:chgData name="Alexandre Mercier" userId="b4fbace6-72ad-4592-b27d-535191bf0bec" providerId="ADAL" clId="{43491469-63E5-4AF4-A451-2151A57B2BCA}" dt="2023-05-23T10:56:14.457" v="19813"/>
          <ac:spMkLst>
            <pc:docMk/>
            <pc:sldMk cId="844873446" sldId="713"/>
            <ac:spMk id="286" creationId="{C7293E1A-F115-52DE-3AD5-4A2CDC6FA71D}"/>
          </ac:spMkLst>
        </pc:spChg>
        <pc:spChg chg="add del mod replST delST">
          <ac:chgData name="Alexandre Mercier" userId="b4fbace6-72ad-4592-b27d-535191bf0bec" providerId="ADAL" clId="{43491469-63E5-4AF4-A451-2151A57B2BCA}" dt="2023-05-23T10:56:14.457" v="19813"/>
          <ac:spMkLst>
            <pc:docMk/>
            <pc:sldMk cId="844873446" sldId="713"/>
            <ac:spMk id="287" creationId="{E5D55EBE-5F16-AEFD-FDBF-04837BD85FDC}"/>
          </ac:spMkLst>
        </pc:spChg>
        <pc:spChg chg="add del mod replST delST">
          <ac:chgData name="Alexandre Mercier" userId="b4fbace6-72ad-4592-b27d-535191bf0bec" providerId="ADAL" clId="{43491469-63E5-4AF4-A451-2151A57B2BCA}" dt="2023-05-23T10:56:14.457" v="19813"/>
          <ac:spMkLst>
            <pc:docMk/>
            <pc:sldMk cId="844873446" sldId="713"/>
            <ac:spMk id="288" creationId="{6AE94F3E-6960-1B6A-5ECC-214CB70FB10E}"/>
          </ac:spMkLst>
        </pc:spChg>
        <pc:spChg chg="add del mod ord replST delST">
          <ac:chgData name="Alexandre Mercier" userId="b4fbace6-72ad-4592-b27d-535191bf0bec" providerId="ADAL" clId="{43491469-63E5-4AF4-A451-2151A57B2BCA}" dt="2023-05-23T10:56:14.457" v="19813"/>
          <ac:spMkLst>
            <pc:docMk/>
            <pc:sldMk cId="844873446" sldId="713"/>
            <ac:spMk id="289" creationId="{5F793FD5-B0B5-ADD0-1639-B7CBDFEDBDAE}"/>
          </ac:spMkLst>
        </pc:spChg>
        <pc:spChg chg="add del mod modVis">
          <ac:chgData name="Alexandre Mercier" userId="b4fbace6-72ad-4592-b27d-535191bf0bec" providerId="ADAL" clId="{43491469-63E5-4AF4-A451-2151A57B2BCA}" dt="2023-05-23T10:56:34.985" v="21433"/>
          <ac:spMkLst>
            <pc:docMk/>
            <pc:sldMk cId="844873446" sldId="713"/>
            <ac:spMk id="290" creationId="{2470BDCE-9F3D-01C4-17BD-E57DFCC0C381}"/>
          </ac:spMkLst>
        </pc:spChg>
        <pc:spChg chg="add del mod modVis">
          <ac:chgData name="Alexandre Mercier" userId="b4fbace6-72ad-4592-b27d-535191bf0bec" providerId="ADAL" clId="{43491469-63E5-4AF4-A451-2151A57B2BCA}" dt="2023-05-23T10:56:56.671" v="21721"/>
          <ac:spMkLst>
            <pc:docMk/>
            <pc:sldMk cId="844873446" sldId="713"/>
            <ac:spMk id="291" creationId="{20DBE887-ADE8-9D6B-CAAD-40887A9FA14F}"/>
          </ac:spMkLst>
        </pc:spChg>
        <pc:spChg chg="add mod replST">
          <ac:chgData name="Alexandre Mercier" userId="b4fbace6-72ad-4592-b27d-535191bf0bec" providerId="ADAL" clId="{43491469-63E5-4AF4-A451-2151A57B2BCA}" dt="2023-05-25T09:18:44.031" v="43408"/>
          <ac:spMkLst>
            <pc:docMk/>
            <pc:sldMk cId="844873446" sldId="713"/>
            <ac:spMk id="293" creationId="{9CFBA2BA-2CC0-47E5-2FEC-807F987D3402}"/>
          </ac:spMkLst>
        </pc:spChg>
        <pc:spChg chg="add del mod modVis">
          <ac:chgData name="Alexandre Mercier" userId="b4fbace6-72ad-4592-b27d-535191bf0bec" providerId="ADAL" clId="{43491469-63E5-4AF4-A451-2151A57B2BCA}" dt="2023-05-23T10:57:03.339" v="22026"/>
          <ac:spMkLst>
            <pc:docMk/>
            <pc:sldMk cId="844873446" sldId="713"/>
            <ac:spMk id="294" creationId="{4994F66B-54F3-00AC-83DC-1516A4C86E75}"/>
          </ac:spMkLst>
        </pc:spChg>
        <pc:spChg chg="add mod ord replST">
          <ac:chgData name="Alexandre Mercier" userId="b4fbace6-72ad-4592-b27d-535191bf0bec" providerId="ADAL" clId="{43491469-63E5-4AF4-A451-2151A57B2BCA}" dt="2023-05-25T09:18:19.035" v="43249"/>
          <ac:spMkLst>
            <pc:docMk/>
            <pc:sldMk cId="844873446" sldId="713"/>
            <ac:spMk id="295" creationId="{7FB29698-2A54-D0ED-6344-93E9B1C9E70C}"/>
          </ac:spMkLst>
        </pc:spChg>
        <pc:spChg chg="add mod replST delST">
          <ac:chgData name="Alexandre Mercier" userId="b4fbace6-72ad-4592-b27d-535191bf0bec" providerId="ADAL" clId="{43491469-63E5-4AF4-A451-2151A57B2BCA}" dt="2023-05-23T10:57:21.844" v="22928"/>
          <ac:spMkLst>
            <pc:docMk/>
            <pc:sldMk cId="844873446" sldId="713"/>
            <ac:spMk id="297" creationId="{A6AD752F-0982-F33E-46E0-281A51C536F2}"/>
          </ac:spMkLst>
        </pc:spChg>
        <pc:spChg chg="add del mod modVis">
          <ac:chgData name="Alexandre Mercier" userId="b4fbace6-72ad-4592-b27d-535191bf0bec" providerId="ADAL" clId="{43491469-63E5-4AF4-A451-2151A57B2BCA}" dt="2023-05-23T10:57:21.844" v="22928"/>
          <ac:spMkLst>
            <pc:docMk/>
            <pc:sldMk cId="844873446" sldId="713"/>
            <ac:spMk id="298" creationId="{2C9869A9-BC37-24CA-91A9-B8C899F0FC84}"/>
          </ac:spMkLst>
        </pc:spChg>
        <pc:spChg chg="add del mod replST delST">
          <ac:chgData name="Alexandre Mercier" userId="b4fbace6-72ad-4592-b27d-535191bf0bec" providerId="ADAL" clId="{43491469-63E5-4AF4-A451-2151A57B2BCA}" dt="2023-05-23T10:57:21.844" v="22928"/>
          <ac:spMkLst>
            <pc:docMk/>
            <pc:sldMk cId="844873446" sldId="713"/>
            <ac:spMk id="299" creationId="{712732CE-5AF9-EE00-E0EC-087D43F98A77}"/>
          </ac:spMkLst>
        </pc:spChg>
        <pc:spChg chg="add del mod replST delST">
          <ac:chgData name="Alexandre Mercier" userId="b4fbace6-72ad-4592-b27d-535191bf0bec" providerId="ADAL" clId="{43491469-63E5-4AF4-A451-2151A57B2BCA}" dt="2023-05-23T10:57:21.844" v="22928"/>
          <ac:spMkLst>
            <pc:docMk/>
            <pc:sldMk cId="844873446" sldId="713"/>
            <ac:spMk id="300" creationId="{74627B91-C487-0D41-BD50-36863FFFA0D6}"/>
          </ac:spMkLst>
        </pc:spChg>
        <pc:spChg chg="add del mod ord replST delST">
          <ac:chgData name="Alexandre Mercier" userId="b4fbace6-72ad-4592-b27d-535191bf0bec" providerId="ADAL" clId="{43491469-63E5-4AF4-A451-2151A57B2BCA}" dt="2023-05-23T10:57:21.844" v="22928"/>
          <ac:spMkLst>
            <pc:docMk/>
            <pc:sldMk cId="844873446" sldId="713"/>
            <ac:spMk id="301" creationId="{1EC9BDD3-C7D0-BFE0-9A2A-C15E85CB366A}"/>
          </ac:spMkLst>
        </pc:spChg>
        <pc:spChg chg="add del mod replST">
          <ac:chgData name="Alexandre Mercier" userId="b4fbace6-72ad-4592-b27d-535191bf0bec" providerId="ADAL" clId="{43491469-63E5-4AF4-A451-2151A57B2BCA}" dt="2023-05-23T11:04:37.441" v="36889"/>
          <ac:spMkLst>
            <pc:docMk/>
            <pc:sldMk cId="844873446" sldId="713"/>
            <ac:spMk id="302" creationId="{85FAEFA7-0B13-7907-372F-22FB9634F2ED}"/>
          </ac:spMkLst>
        </pc:spChg>
        <pc:spChg chg="add del mod modVis">
          <ac:chgData name="Alexandre Mercier" userId="b4fbace6-72ad-4592-b27d-535191bf0bec" providerId="ADAL" clId="{43491469-63E5-4AF4-A451-2151A57B2BCA}" dt="2023-05-23T10:57:24.868" v="23351"/>
          <ac:spMkLst>
            <pc:docMk/>
            <pc:sldMk cId="844873446" sldId="713"/>
            <ac:spMk id="303" creationId="{5916D275-004A-28F4-1C2B-C54A84EDB8F4}"/>
          </ac:spMkLst>
        </pc:spChg>
        <pc:spChg chg="add del mod ord replST">
          <ac:chgData name="Alexandre Mercier" userId="b4fbace6-72ad-4592-b27d-535191bf0bec" providerId="ADAL" clId="{43491469-63E5-4AF4-A451-2151A57B2BCA}" dt="2023-05-23T11:04:37.440" v="36888"/>
          <ac:spMkLst>
            <pc:docMk/>
            <pc:sldMk cId="844873446" sldId="713"/>
            <ac:spMk id="304" creationId="{99EDE3AF-8ED3-D0D6-F697-9159093BB151}"/>
          </ac:spMkLst>
        </pc:spChg>
        <pc:spChg chg="add del mod ord replST">
          <ac:chgData name="Alexandre Mercier" userId="b4fbace6-72ad-4592-b27d-535191bf0bec" providerId="ADAL" clId="{43491469-63E5-4AF4-A451-2151A57B2BCA}" dt="2023-05-23T10:58:46.781" v="25830"/>
          <ac:spMkLst>
            <pc:docMk/>
            <pc:sldMk cId="844873446" sldId="713"/>
            <ac:spMk id="306" creationId="{9BF829F1-E40F-F415-7720-9F0CA674FB75}"/>
          </ac:spMkLst>
        </pc:spChg>
        <pc:spChg chg="add del mod ord replST">
          <ac:chgData name="Alexandre Mercier" userId="b4fbace6-72ad-4592-b27d-535191bf0bec" providerId="ADAL" clId="{43491469-63E5-4AF4-A451-2151A57B2BCA}" dt="2023-05-23T10:58:46.780" v="25828"/>
          <ac:spMkLst>
            <pc:docMk/>
            <pc:sldMk cId="844873446" sldId="713"/>
            <ac:spMk id="307" creationId="{11B63209-BD38-D730-C3C0-243E7EA036B2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8" v="25826"/>
          <ac:spMkLst>
            <pc:docMk/>
            <pc:sldMk cId="844873446" sldId="713"/>
            <ac:spMk id="308" creationId="{4AD7037C-18F4-A4C6-22F9-A56FD93B6F5B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8" v="25824"/>
          <ac:spMkLst>
            <pc:docMk/>
            <pc:sldMk cId="844873446" sldId="713"/>
            <ac:spMk id="309" creationId="{CFA91381-4170-E9AA-1E35-F6ED709754A4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7" v="25822"/>
          <ac:spMkLst>
            <pc:docMk/>
            <pc:sldMk cId="844873446" sldId="713"/>
            <ac:spMk id="310" creationId="{35A85AE1-15FD-87BA-603A-3559FD32980E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6" v="25820"/>
          <ac:spMkLst>
            <pc:docMk/>
            <pc:sldMk cId="844873446" sldId="713"/>
            <ac:spMk id="311" creationId="{5F4D7619-A8F7-413F-6A13-9E3E80F897AD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5" v="25818"/>
          <ac:spMkLst>
            <pc:docMk/>
            <pc:sldMk cId="844873446" sldId="713"/>
            <ac:spMk id="312" creationId="{F8C90BEE-C5B6-836E-C872-2B36BFCA649B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4" v="25816"/>
          <ac:spMkLst>
            <pc:docMk/>
            <pc:sldMk cId="844873446" sldId="713"/>
            <ac:spMk id="313" creationId="{7422FE86-E690-BBB9-A84D-C69C10B66801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3" v="25814"/>
          <ac:spMkLst>
            <pc:docMk/>
            <pc:sldMk cId="844873446" sldId="713"/>
            <ac:spMk id="314" creationId="{50EC3B87-B529-7AC4-3C55-1A879A1B3DD4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3" v="25812"/>
          <ac:spMkLst>
            <pc:docMk/>
            <pc:sldMk cId="844873446" sldId="713"/>
            <ac:spMk id="315" creationId="{B0F0CE6A-B00C-A86D-BE0F-6800EFA30472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2" v="25810"/>
          <ac:spMkLst>
            <pc:docMk/>
            <pc:sldMk cId="844873446" sldId="713"/>
            <ac:spMk id="316" creationId="{4F9153C1-CD6D-5AFA-E034-2617B4CBB48A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1" v="25808"/>
          <ac:spMkLst>
            <pc:docMk/>
            <pc:sldMk cId="844873446" sldId="713"/>
            <ac:spMk id="317" creationId="{E58A70F8-9463-CEF7-FED8-4C481FBD46E2}"/>
          </ac:spMkLst>
        </pc:spChg>
        <pc:spChg chg="add del mod ord replST">
          <ac:chgData name="Alexandre Mercier" userId="b4fbace6-72ad-4592-b27d-535191bf0bec" providerId="ADAL" clId="{43491469-63E5-4AF4-A451-2151A57B2BCA}" dt="2023-05-23T10:58:46.770" v="25806"/>
          <ac:spMkLst>
            <pc:docMk/>
            <pc:sldMk cId="844873446" sldId="713"/>
            <ac:spMk id="318" creationId="{6438215B-2BDF-B087-0B01-A349D2067984}"/>
          </ac:spMkLst>
        </pc:spChg>
        <pc:spChg chg="add del mod ord replST">
          <ac:chgData name="Alexandre Mercier" userId="b4fbace6-72ad-4592-b27d-535191bf0bec" providerId="ADAL" clId="{43491469-63E5-4AF4-A451-2151A57B2BCA}" dt="2023-05-23T10:58:46.769" v="25804"/>
          <ac:spMkLst>
            <pc:docMk/>
            <pc:sldMk cId="844873446" sldId="713"/>
            <ac:spMk id="319" creationId="{3C100AB9-4211-9C58-D3D3-1D51665950E2}"/>
          </ac:spMkLst>
        </pc:spChg>
        <pc:spChg chg="add del mod ord replST">
          <ac:chgData name="Alexandre Mercier" userId="b4fbace6-72ad-4592-b27d-535191bf0bec" providerId="ADAL" clId="{43491469-63E5-4AF4-A451-2151A57B2BCA}" dt="2023-05-23T10:58:46.768" v="25802"/>
          <ac:spMkLst>
            <pc:docMk/>
            <pc:sldMk cId="844873446" sldId="713"/>
            <ac:spMk id="320" creationId="{51AE6C18-DC16-2C49-16DD-5622EFD8D735}"/>
          </ac:spMkLst>
        </pc:spChg>
        <pc:spChg chg="add del mod ord replST">
          <ac:chgData name="Alexandre Mercier" userId="b4fbace6-72ad-4592-b27d-535191bf0bec" providerId="ADAL" clId="{43491469-63E5-4AF4-A451-2151A57B2BCA}" dt="2023-05-23T10:58:46.767" v="25800"/>
          <ac:spMkLst>
            <pc:docMk/>
            <pc:sldMk cId="844873446" sldId="713"/>
            <ac:spMk id="321" creationId="{77120A07-7F93-478E-7C48-08AAADBC03E2}"/>
          </ac:spMkLst>
        </pc:spChg>
        <pc:spChg chg="add del mod ord replST">
          <ac:chgData name="Alexandre Mercier" userId="b4fbace6-72ad-4592-b27d-535191bf0bec" providerId="ADAL" clId="{43491469-63E5-4AF4-A451-2151A57B2BCA}" dt="2023-05-23T10:58:46.766" v="25798"/>
          <ac:spMkLst>
            <pc:docMk/>
            <pc:sldMk cId="844873446" sldId="713"/>
            <ac:spMk id="322" creationId="{43D689C6-F2B2-5B71-4761-68E88CEBE23A}"/>
          </ac:spMkLst>
        </pc:spChg>
        <pc:spChg chg="add del mod ord replST">
          <ac:chgData name="Alexandre Mercier" userId="b4fbace6-72ad-4592-b27d-535191bf0bec" providerId="ADAL" clId="{43491469-63E5-4AF4-A451-2151A57B2BCA}" dt="2023-05-23T10:58:46.765" v="25796"/>
          <ac:spMkLst>
            <pc:docMk/>
            <pc:sldMk cId="844873446" sldId="713"/>
            <ac:spMk id="323" creationId="{568EA4AE-D094-74B1-F219-C4B11C130719}"/>
          </ac:spMkLst>
        </pc:spChg>
        <pc:spChg chg="add del mod ord replST">
          <ac:chgData name="Alexandre Mercier" userId="b4fbace6-72ad-4592-b27d-535191bf0bec" providerId="ADAL" clId="{43491469-63E5-4AF4-A451-2151A57B2BCA}" dt="2023-05-23T10:58:46.764" v="25794"/>
          <ac:spMkLst>
            <pc:docMk/>
            <pc:sldMk cId="844873446" sldId="713"/>
            <ac:spMk id="324" creationId="{009B646F-750A-25C2-D3B7-4F694F73D2D3}"/>
          </ac:spMkLst>
        </pc:spChg>
        <pc:spChg chg="add del mod ord replST">
          <ac:chgData name="Alexandre Mercier" userId="b4fbace6-72ad-4592-b27d-535191bf0bec" providerId="ADAL" clId="{43491469-63E5-4AF4-A451-2151A57B2BCA}" dt="2023-05-23T10:58:46.763" v="25792"/>
          <ac:spMkLst>
            <pc:docMk/>
            <pc:sldMk cId="844873446" sldId="713"/>
            <ac:spMk id="325" creationId="{0059F240-240F-C75B-609A-5DCEEF5A2F38}"/>
          </ac:spMkLst>
        </pc:spChg>
        <pc:spChg chg="add del mod ord replST">
          <ac:chgData name="Alexandre Mercier" userId="b4fbace6-72ad-4592-b27d-535191bf0bec" providerId="ADAL" clId="{43491469-63E5-4AF4-A451-2151A57B2BCA}" dt="2023-05-23T10:58:46.762" v="25790"/>
          <ac:spMkLst>
            <pc:docMk/>
            <pc:sldMk cId="844873446" sldId="713"/>
            <ac:spMk id="326" creationId="{D9BBC15F-CDC0-3EA6-7651-12B45114A085}"/>
          </ac:spMkLst>
        </pc:spChg>
        <pc:spChg chg="add del mod ord replST">
          <ac:chgData name="Alexandre Mercier" userId="b4fbace6-72ad-4592-b27d-535191bf0bec" providerId="ADAL" clId="{43491469-63E5-4AF4-A451-2151A57B2BCA}" dt="2023-05-23T10:58:46.761" v="25788"/>
          <ac:spMkLst>
            <pc:docMk/>
            <pc:sldMk cId="844873446" sldId="713"/>
            <ac:spMk id="327" creationId="{DAE99EEC-BC5E-DE02-2DDD-5F31AFF3D068}"/>
          </ac:spMkLst>
        </pc:spChg>
        <pc:spChg chg="add del mod ord replST">
          <ac:chgData name="Alexandre Mercier" userId="b4fbace6-72ad-4592-b27d-535191bf0bec" providerId="ADAL" clId="{43491469-63E5-4AF4-A451-2151A57B2BCA}" dt="2023-05-23T10:58:46.760" v="25786"/>
          <ac:spMkLst>
            <pc:docMk/>
            <pc:sldMk cId="844873446" sldId="713"/>
            <ac:spMk id="328" creationId="{0EB6C862-716F-E9FD-371F-F9B7F039CDBB}"/>
          </ac:spMkLst>
        </pc:spChg>
        <pc:spChg chg="add del mod ord replST">
          <ac:chgData name="Alexandre Mercier" userId="b4fbace6-72ad-4592-b27d-535191bf0bec" providerId="ADAL" clId="{43491469-63E5-4AF4-A451-2151A57B2BCA}" dt="2023-05-23T10:58:46.759" v="25784"/>
          <ac:spMkLst>
            <pc:docMk/>
            <pc:sldMk cId="844873446" sldId="713"/>
            <ac:spMk id="329" creationId="{DACBFD7E-56BC-BC9C-7B3B-3CCDE692F975}"/>
          </ac:spMkLst>
        </pc:spChg>
        <pc:spChg chg="add del mod ord replST">
          <ac:chgData name="Alexandre Mercier" userId="b4fbace6-72ad-4592-b27d-535191bf0bec" providerId="ADAL" clId="{43491469-63E5-4AF4-A451-2151A57B2BCA}" dt="2023-05-23T10:58:46.758" v="25782"/>
          <ac:spMkLst>
            <pc:docMk/>
            <pc:sldMk cId="844873446" sldId="713"/>
            <ac:spMk id="330" creationId="{62DA1F31-189E-6B27-D4C1-79CE1755375C}"/>
          </ac:spMkLst>
        </pc:spChg>
        <pc:spChg chg="add del mod ord replST">
          <ac:chgData name="Alexandre Mercier" userId="b4fbace6-72ad-4592-b27d-535191bf0bec" providerId="ADAL" clId="{43491469-63E5-4AF4-A451-2151A57B2BCA}" dt="2023-05-23T10:58:46.757" v="25780"/>
          <ac:spMkLst>
            <pc:docMk/>
            <pc:sldMk cId="844873446" sldId="713"/>
            <ac:spMk id="331" creationId="{386071AD-03F4-EC34-42D4-5D2F178C7AF2}"/>
          </ac:spMkLst>
        </pc:spChg>
        <pc:spChg chg="add del mod ord replST">
          <ac:chgData name="Alexandre Mercier" userId="b4fbace6-72ad-4592-b27d-535191bf0bec" providerId="ADAL" clId="{43491469-63E5-4AF4-A451-2151A57B2BCA}" dt="2023-05-23T10:58:46.756" v="25778"/>
          <ac:spMkLst>
            <pc:docMk/>
            <pc:sldMk cId="844873446" sldId="713"/>
            <ac:spMk id="332" creationId="{E5952AF5-FC05-797F-FD1B-F551048986DE}"/>
          </ac:spMkLst>
        </pc:spChg>
        <pc:spChg chg="add del mod ord replST">
          <ac:chgData name="Alexandre Mercier" userId="b4fbace6-72ad-4592-b27d-535191bf0bec" providerId="ADAL" clId="{43491469-63E5-4AF4-A451-2151A57B2BCA}" dt="2023-05-23T10:58:46.755" v="25776"/>
          <ac:spMkLst>
            <pc:docMk/>
            <pc:sldMk cId="844873446" sldId="713"/>
            <ac:spMk id="333" creationId="{EE817121-F041-0E23-762F-694B455B7039}"/>
          </ac:spMkLst>
        </pc:spChg>
        <pc:spChg chg="add del mod ord replST">
          <ac:chgData name="Alexandre Mercier" userId="b4fbace6-72ad-4592-b27d-535191bf0bec" providerId="ADAL" clId="{43491469-63E5-4AF4-A451-2151A57B2BCA}" dt="2023-05-23T10:58:46.753" v="25774"/>
          <ac:spMkLst>
            <pc:docMk/>
            <pc:sldMk cId="844873446" sldId="713"/>
            <ac:spMk id="334" creationId="{6E89312D-28E6-FAF4-A101-5A9C28D5EB96}"/>
          </ac:spMkLst>
        </pc:spChg>
        <pc:spChg chg="add del mod ord replST">
          <ac:chgData name="Alexandre Mercier" userId="b4fbace6-72ad-4592-b27d-535191bf0bec" providerId="ADAL" clId="{43491469-63E5-4AF4-A451-2151A57B2BCA}" dt="2023-05-23T10:58:46.752" v="25772"/>
          <ac:spMkLst>
            <pc:docMk/>
            <pc:sldMk cId="844873446" sldId="713"/>
            <ac:spMk id="335" creationId="{CFB8DADF-C325-60FC-E2F2-D8099555B5CE}"/>
          </ac:spMkLst>
        </pc:spChg>
        <pc:spChg chg="add del mod ord replST">
          <ac:chgData name="Alexandre Mercier" userId="b4fbace6-72ad-4592-b27d-535191bf0bec" providerId="ADAL" clId="{43491469-63E5-4AF4-A451-2151A57B2BCA}" dt="2023-05-23T10:58:46.751" v="25770"/>
          <ac:spMkLst>
            <pc:docMk/>
            <pc:sldMk cId="844873446" sldId="713"/>
            <ac:spMk id="336" creationId="{E6DCEE7B-C45E-7BE6-A192-62F353663C07}"/>
          </ac:spMkLst>
        </pc:spChg>
        <pc:spChg chg="add del mod ord replST">
          <ac:chgData name="Alexandre Mercier" userId="b4fbace6-72ad-4592-b27d-535191bf0bec" providerId="ADAL" clId="{43491469-63E5-4AF4-A451-2151A57B2BCA}" dt="2023-05-23T10:58:46.749" v="25768"/>
          <ac:spMkLst>
            <pc:docMk/>
            <pc:sldMk cId="844873446" sldId="713"/>
            <ac:spMk id="337" creationId="{9C1CE5A9-5A9C-390C-1EEC-F64299FE07FF}"/>
          </ac:spMkLst>
        </pc:spChg>
        <pc:spChg chg="add del mod ord replST">
          <ac:chgData name="Alexandre Mercier" userId="b4fbace6-72ad-4592-b27d-535191bf0bec" providerId="ADAL" clId="{43491469-63E5-4AF4-A451-2151A57B2BCA}" dt="2023-05-23T10:58:46.748" v="25766"/>
          <ac:spMkLst>
            <pc:docMk/>
            <pc:sldMk cId="844873446" sldId="713"/>
            <ac:spMk id="338" creationId="{B46C5D69-7F62-3267-3007-FCF853028799}"/>
          </ac:spMkLst>
        </pc:spChg>
        <pc:spChg chg="add del mod ord replST">
          <ac:chgData name="Alexandre Mercier" userId="b4fbace6-72ad-4592-b27d-535191bf0bec" providerId="ADAL" clId="{43491469-63E5-4AF4-A451-2151A57B2BCA}" dt="2023-05-23T10:58:46.747" v="25764"/>
          <ac:spMkLst>
            <pc:docMk/>
            <pc:sldMk cId="844873446" sldId="713"/>
            <ac:spMk id="339" creationId="{824F978A-B984-6454-2239-584E5066BCDD}"/>
          </ac:spMkLst>
        </pc:spChg>
        <pc:spChg chg="add del mod ord replST">
          <ac:chgData name="Alexandre Mercier" userId="b4fbace6-72ad-4592-b27d-535191bf0bec" providerId="ADAL" clId="{43491469-63E5-4AF4-A451-2151A57B2BCA}" dt="2023-05-23T10:58:46.746" v="25762"/>
          <ac:spMkLst>
            <pc:docMk/>
            <pc:sldMk cId="844873446" sldId="713"/>
            <ac:spMk id="340" creationId="{63FFC9E0-26F1-A986-4492-52C0EE2C7A4F}"/>
          </ac:spMkLst>
        </pc:spChg>
        <pc:spChg chg="add mod ord replST">
          <ac:chgData name="Alexandre Mercier" userId="b4fbace6-72ad-4592-b27d-535191bf0bec" providerId="ADAL" clId="{43491469-63E5-4AF4-A451-2151A57B2BCA}" dt="2023-05-25T09:18:19.057" v="43303"/>
          <ac:spMkLst>
            <pc:docMk/>
            <pc:sldMk cId="844873446" sldId="713"/>
            <ac:spMk id="341" creationId="{A9F3330F-F786-E98A-180B-60AED9E52CC1}"/>
          </ac:spMkLst>
        </pc:spChg>
        <pc:spChg chg="add del mod replST">
          <ac:chgData name="Alexandre Mercier" userId="b4fbace6-72ad-4592-b27d-535191bf0bec" providerId="ADAL" clId="{43491469-63E5-4AF4-A451-2151A57B2BCA}" dt="2023-05-23T11:02:56.836" v="34929"/>
          <ac:spMkLst>
            <pc:docMk/>
            <pc:sldMk cId="844873446" sldId="713"/>
            <ac:spMk id="374" creationId="{0FB86B81-C0F1-083F-5219-4A124F6D2502}"/>
          </ac:spMkLst>
        </pc:spChg>
        <pc:spChg chg="add del mod modVis">
          <ac:chgData name="Alexandre Mercier" userId="b4fbace6-72ad-4592-b27d-535191bf0bec" providerId="ADAL" clId="{43491469-63E5-4AF4-A451-2151A57B2BCA}" dt="2023-05-23T11:00:09.080" v="34841"/>
          <ac:spMkLst>
            <pc:docMk/>
            <pc:sldMk cId="844873446" sldId="713"/>
            <ac:spMk id="375" creationId="{03E0441D-FAF8-7176-42DF-16AD0EEC4674}"/>
          </ac:spMkLst>
        </pc:spChg>
        <pc:spChg chg="add del mod replST">
          <ac:chgData name="Alexandre Mercier" userId="b4fbace6-72ad-4592-b27d-535191bf0bec" providerId="ADAL" clId="{43491469-63E5-4AF4-A451-2151A57B2BCA}" dt="2023-05-23T11:02:56.837" v="34930"/>
          <ac:spMkLst>
            <pc:docMk/>
            <pc:sldMk cId="844873446" sldId="713"/>
            <ac:spMk id="376" creationId="{ADC02888-18D5-2B5A-0513-2FC3A64D1256}"/>
          </ac:spMkLst>
        </pc:spChg>
        <pc:spChg chg="add del mod replST">
          <ac:chgData name="Alexandre Mercier" userId="b4fbace6-72ad-4592-b27d-535191bf0bec" providerId="ADAL" clId="{43491469-63E5-4AF4-A451-2151A57B2BCA}" dt="2023-05-23T11:02:56.838" v="34931"/>
          <ac:spMkLst>
            <pc:docMk/>
            <pc:sldMk cId="844873446" sldId="713"/>
            <ac:spMk id="377" creationId="{8CE9991A-184F-294C-EDD4-1BA7FA279CB4}"/>
          </ac:spMkLst>
        </pc:spChg>
        <pc:spChg chg="add del mod replST">
          <ac:chgData name="Alexandre Mercier" userId="b4fbace6-72ad-4592-b27d-535191bf0bec" providerId="ADAL" clId="{43491469-63E5-4AF4-A451-2151A57B2BCA}" dt="2023-05-23T11:02:56.838" v="34932"/>
          <ac:spMkLst>
            <pc:docMk/>
            <pc:sldMk cId="844873446" sldId="713"/>
            <ac:spMk id="378" creationId="{467C88C6-3F69-91AE-04EC-3C1EF8BA6A95}"/>
          </ac:spMkLst>
        </pc:spChg>
        <pc:spChg chg="add del mod replST">
          <ac:chgData name="Alexandre Mercier" userId="b4fbace6-72ad-4592-b27d-535191bf0bec" providerId="ADAL" clId="{43491469-63E5-4AF4-A451-2151A57B2BCA}" dt="2023-05-23T11:02:56.838" v="34933"/>
          <ac:spMkLst>
            <pc:docMk/>
            <pc:sldMk cId="844873446" sldId="713"/>
            <ac:spMk id="379" creationId="{FC118EFC-F536-177C-3F1E-4EE09191A822}"/>
          </ac:spMkLst>
        </pc:spChg>
        <pc:spChg chg="add del mod replST">
          <ac:chgData name="Alexandre Mercier" userId="b4fbace6-72ad-4592-b27d-535191bf0bec" providerId="ADAL" clId="{43491469-63E5-4AF4-A451-2151A57B2BCA}" dt="2023-05-23T11:02:56.839" v="34934"/>
          <ac:spMkLst>
            <pc:docMk/>
            <pc:sldMk cId="844873446" sldId="713"/>
            <ac:spMk id="380" creationId="{31694404-F416-2C41-5A56-989F51B1DC6A}"/>
          </ac:spMkLst>
        </pc:spChg>
        <pc:spChg chg="add del mod replST">
          <ac:chgData name="Alexandre Mercier" userId="b4fbace6-72ad-4592-b27d-535191bf0bec" providerId="ADAL" clId="{43491469-63E5-4AF4-A451-2151A57B2BCA}" dt="2023-05-23T11:02:56.839" v="34935"/>
          <ac:spMkLst>
            <pc:docMk/>
            <pc:sldMk cId="844873446" sldId="713"/>
            <ac:spMk id="381" creationId="{52AEDFEB-CE4F-5818-036A-F4EA9E108651}"/>
          </ac:spMkLst>
        </pc:spChg>
        <pc:spChg chg="add del mod replST">
          <ac:chgData name="Alexandre Mercier" userId="b4fbace6-72ad-4592-b27d-535191bf0bec" providerId="ADAL" clId="{43491469-63E5-4AF4-A451-2151A57B2BCA}" dt="2023-05-23T11:02:56.840" v="34936"/>
          <ac:spMkLst>
            <pc:docMk/>
            <pc:sldMk cId="844873446" sldId="713"/>
            <ac:spMk id="382" creationId="{D7F229B2-2609-6D3B-D4A9-36A011136157}"/>
          </ac:spMkLst>
        </pc:spChg>
        <pc:spChg chg="add del mod replST">
          <ac:chgData name="Alexandre Mercier" userId="b4fbace6-72ad-4592-b27d-535191bf0bec" providerId="ADAL" clId="{43491469-63E5-4AF4-A451-2151A57B2BCA}" dt="2023-05-23T11:02:56.840" v="34937"/>
          <ac:spMkLst>
            <pc:docMk/>
            <pc:sldMk cId="844873446" sldId="713"/>
            <ac:spMk id="383" creationId="{8F797707-85A0-321B-20AB-51003F8E266A}"/>
          </ac:spMkLst>
        </pc:spChg>
        <pc:spChg chg="add del mod replST">
          <ac:chgData name="Alexandre Mercier" userId="b4fbace6-72ad-4592-b27d-535191bf0bec" providerId="ADAL" clId="{43491469-63E5-4AF4-A451-2151A57B2BCA}" dt="2023-05-23T11:02:56.841" v="34938"/>
          <ac:spMkLst>
            <pc:docMk/>
            <pc:sldMk cId="844873446" sldId="713"/>
            <ac:spMk id="384" creationId="{DDF82616-93C9-7BB9-1FCE-E6F77A2622A7}"/>
          </ac:spMkLst>
        </pc:spChg>
        <pc:spChg chg="add del mod replST">
          <ac:chgData name="Alexandre Mercier" userId="b4fbace6-72ad-4592-b27d-535191bf0bec" providerId="ADAL" clId="{43491469-63E5-4AF4-A451-2151A57B2BCA}" dt="2023-05-23T11:02:56.841" v="34939"/>
          <ac:spMkLst>
            <pc:docMk/>
            <pc:sldMk cId="844873446" sldId="713"/>
            <ac:spMk id="385" creationId="{4ADF35DF-7C44-B96E-45FD-58E3F36F54D8}"/>
          </ac:spMkLst>
        </pc:spChg>
        <pc:spChg chg="add del mod replST">
          <ac:chgData name="Alexandre Mercier" userId="b4fbace6-72ad-4592-b27d-535191bf0bec" providerId="ADAL" clId="{43491469-63E5-4AF4-A451-2151A57B2BCA}" dt="2023-05-23T11:02:56.842" v="34940"/>
          <ac:spMkLst>
            <pc:docMk/>
            <pc:sldMk cId="844873446" sldId="713"/>
            <ac:spMk id="386" creationId="{6A1F53EF-C496-8A6E-D2BD-4122D398D8E8}"/>
          </ac:spMkLst>
        </pc:spChg>
        <pc:spChg chg="add del mod replST">
          <ac:chgData name="Alexandre Mercier" userId="b4fbace6-72ad-4592-b27d-535191bf0bec" providerId="ADAL" clId="{43491469-63E5-4AF4-A451-2151A57B2BCA}" dt="2023-05-23T11:02:56.842" v="34941"/>
          <ac:spMkLst>
            <pc:docMk/>
            <pc:sldMk cId="844873446" sldId="713"/>
            <ac:spMk id="387" creationId="{D471244C-FE40-928E-983B-04BC4F074E80}"/>
          </ac:spMkLst>
        </pc:spChg>
        <pc:spChg chg="add del mod replST">
          <ac:chgData name="Alexandre Mercier" userId="b4fbace6-72ad-4592-b27d-535191bf0bec" providerId="ADAL" clId="{43491469-63E5-4AF4-A451-2151A57B2BCA}" dt="2023-05-23T11:02:56.843" v="34942"/>
          <ac:spMkLst>
            <pc:docMk/>
            <pc:sldMk cId="844873446" sldId="713"/>
            <ac:spMk id="388" creationId="{9F607438-B77C-C664-9CCF-9CE93F99D626}"/>
          </ac:spMkLst>
        </pc:spChg>
        <pc:spChg chg="add del mod replST">
          <ac:chgData name="Alexandre Mercier" userId="b4fbace6-72ad-4592-b27d-535191bf0bec" providerId="ADAL" clId="{43491469-63E5-4AF4-A451-2151A57B2BCA}" dt="2023-05-23T11:02:56.843" v="34943"/>
          <ac:spMkLst>
            <pc:docMk/>
            <pc:sldMk cId="844873446" sldId="713"/>
            <ac:spMk id="389" creationId="{D529411E-A6AC-4AAD-3817-4C675390B651}"/>
          </ac:spMkLst>
        </pc:spChg>
        <pc:spChg chg="add del mod replST">
          <ac:chgData name="Alexandre Mercier" userId="b4fbace6-72ad-4592-b27d-535191bf0bec" providerId="ADAL" clId="{43491469-63E5-4AF4-A451-2151A57B2BCA}" dt="2023-05-23T11:02:56.843" v="34944"/>
          <ac:spMkLst>
            <pc:docMk/>
            <pc:sldMk cId="844873446" sldId="713"/>
            <ac:spMk id="390" creationId="{B1E1C6D6-7AA7-A15A-4BA9-A04CFD388875}"/>
          </ac:spMkLst>
        </pc:spChg>
        <pc:spChg chg="add del mod replST">
          <ac:chgData name="Alexandre Mercier" userId="b4fbace6-72ad-4592-b27d-535191bf0bec" providerId="ADAL" clId="{43491469-63E5-4AF4-A451-2151A57B2BCA}" dt="2023-05-23T11:02:56.844" v="34945"/>
          <ac:spMkLst>
            <pc:docMk/>
            <pc:sldMk cId="844873446" sldId="713"/>
            <ac:spMk id="391" creationId="{01DBE276-106A-0938-D641-AACBFF03149E}"/>
          </ac:spMkLst>
        </pc:spChg>
        <pc:spChg chg="add del mod replST">
          <ac:chgData name="Alexandre Mercier" userId="b4fbace6-72ad-4592-b27d-535191bf0bec" providerId="ADAL" clId="{43491469-63E5-4AF4-A451-2151A57B2BCA}" dt="2023-05-23T11:02:56.844" v="34946"/>
          <ac:spMkLst>
            <pc:docMk/>
            <pc:sldMk cId="844873446" sldId="713"/>
            <ac:spMk id="392" creationId="{55008C00-ECD1-3829-3FC7-FDD3D0C4AFE0}"/>
          </ac:spMkLst>
        </pc:spChg>
        <pc:spChg chg="add del mod replST">
          <ac:chgData name="Alexandre Mercier" userId="b4fbace6-72ad-4592-b27d-535191bf0bec" providerId="ADAL" clId="{43491469-63E5-4AF4-A451-2151A57B2BCA}" dt="2023-05-23T11:02:56.845" v="34947"/>
          <ac:spMkLst>
            <pc:docMk/>
            <pc:sldMk cId="844873446" sldId="713"/>
            <ac:spMk id="393" creationId="{9B15A5FC-A71F-1593-9705-51FB3E1B9061}"/>
          </ac:spMkLst>
        </pc:spChg>
        <pc:spChg chg="add del mod replST">
          <ac:chgData name="Alexandre Mercier" userId="b4fbace6-72ad-4592-b27d-535191bf0bec" providerId="ADAL" clId="{43491469-63E5-4AF4-A451-2151A57B2BCA}" dt="2023-05-23T11:02:56.845" v="34948"/>
          <ac:spMkLst>
            <pc:docMk/>
            <pc:sldMk cId="844873446" sldId="713"/>
            <ac:spMk id="394" creationId="{8B43598B-2410-B01A-9C82-CAE9B88D6D97}"/>
          </ac:spMkLst>
        </pc:spChg>
        <pc:spChg chg="add del mod replST">
          <ac:chgData name="Alexandre Mercier" userId="b4fbace6-72ad-4592-b27d-535191bf0bec" providerId="ADAL" clId="{43491469-63E5-4AF4-A451-2151A57B2BCA}" dt="2023-05-23T11:02:56.846" v="34949"/>
          <ac:spMkLst>
            <pc:docMk/>
            <pc:sldMk cId="844873446" sldId="713"/>
            <ac:spMk id="395" creationId="{945F9730-9E7C-D4EC-A282-8F0B784F3423}"/>
          </ac:spMkLst>
        </pc:spChg>
        <pc:spChg chg="add del mod replST">
          <ac:chgData name="Alexandre Mercier" userId="b4fbace6-72ad-4592-b27d-535191bf0bec" providerId="ADAL" clId="{43491469-63E5-4AF4-A451-2151A57B2BCA}" dt="2023-05-23T11:02:56.846" v="34950"/>
          <ac:spMkLst>
            <pc:docMk/>
            <pc:sldMk cId="844873446" sldId="713"/>
            <ac:spMk id="396" creationId="{16219F02-33D0-3736-C1B4-D25CE0F694C6}"/>
          </ac:spMkLst>
        </pc:spChg>
        <pc:spChg chg="add del mod replST">
          <ac:chgData name="Alexandre Mercier" userId="b4fbace6-72ad-4592-b27d-535191bf0bec" providerId="ADAL" clId="{43491469-63E5-4AF4-A451-2151A57B2BCA}" dt="2023-05-23T11:02:56.846" v="34951"/>
          <ac:spMkLst>
            <pc:docMk/>
            <pc:sldMk cId="844873446" sldId="713"/>
            <ac:spMk id="397" creationId="{EE16E10D-69B9-E901-CD8A-6D95D86E7551}"/>
          </ac:spMkLst>
        </pc:spChg>
        <pc:spChg chg="add del mod replST">
          <ac:chgData name="Alexandre Mercier" userId="b4fbace6-72ad-4592-b27d-535191bf0bec" providerId="ADAL" clId="{43491469-63E5-4AF4-A451-2151A57B2BCA}" dt="2023-05-23T11:02:56.847" v="34952"/>
          <ac:spMkLst>
            <pc:docMk/>
            <pc:sldMk cId="844873446" sldId="713"/>
            <ac:spMk id="398" creationId="{1613A700-73D4-2401-5987-F90EB191A307}"/>
          </ac:spMkLst>
        </pc:spChg>
        <pc:spChg chg="add del mod replST">
          <ac:chgData name="Alexandre Mercier" userId="b4fbace6-72ad-4592-b27d-535191bf0bec" providerId="ADAL" clId="{43491469-63E5-4AF4-A451-2151A57B2BCA}" dt="2023-05-23T11:02:56.847" v="34953"/>
          <ac:spMkLst>
            <pc:docMk/>
            <pc:sldMk cId="844873446" sldId="713"/>
            <ac:spMk id="399" creationId="{7210FF3B-1FC8-03F7-818C-8538370B5126}"/>
          </ac:spMkLst>
        </pc:spChg>
        <pc:spChg chg="add del mod replST">
          <ac:chgData name="Alexandre Mercier" userId="b4fbace6-72ad-4592-b27d-535191bf0bec" providerId="ADAL" clId="{43491469-63E5-4AF4-A451-2151A57B2BCA}" dt="2023-05-23T11:02:56.848" v="34954"/>
          <ac:spMkLst>
            <pc:docMk/>
            <pc:sldMk cId="844873446" sldId="713"/>
            <ac:spMk id="400" creationId="{8C5066AA-C3E7-5335-6C28-51BC24F67F96}"/>
          </ac:spMkLst>
        </pc:spChg>
        <pc:spChg chg="add del mod replST">
          <ac:chgData name="Alexandre Mercier" userId="b4fbace6-72ad-4592-b27d-535191bf0bec" providerId="ADAL" clId="{43491469-63E5-4AF4-A451-2151A57B2BCA}" dt="2023-05-23T11:02:56.848" v="34955"/>
          <ac:spMkLst>
            <pc:docMk/>
            <pc:sldMk cId="844873446" sldId="713"/>
            <ac:spMk id="401" creationId="{8F6A6B71-9451-A904-7A92-AADA57777C97}"/>
          </ac:spMkLst>
        </pc:spChg>
        <pc:spChg chg="add del mod replST">
          <ac:chgData name="Alexandre Mercier" userId="b4fbace6-72ad-4592-b27d-535191bf0bec" providerId="ADAL" clId="{43491469-63E5-4AF4-A451-2151A57B2BCA}" dt="2023-05-23T11:02:56.849" v="34956"/>
          <ac:spMkLst>
            <pc:docMk/>
            <pc:sldMk cId="844873446" sldId="713"/>
            <ac:spMk id="402" creationId="{2E89F106-AA0D-1C4B-FAC1-18E3A9D35EB9}"/>
          </ac:spMkLst>
        </pc:spChg>
        <pc:spChg chg="add del mod replST">
          <ac:chgData name="Alexandre Mercier" userId="b4fbace6-72ad-4592-b27d-535191bf0bec" providerId="ADAL" clId="{43491469-63E5-4AF4-A451-2151A57B2BCA}" dt="2023-05-23T11:02:56.850" v="34957"/>
          <ac:spMkLst>
            <pc:docMk/>
            <pc:sldMk cId="844873446" sldId="713"/>
            <ac:spMk id="403" creationId="{1D7FE17D-2AB8-3FEF-635F-90AF1A4680EA}"/>
          </ac:spMkLst>
        </pc:spChg>
        <pc:spChg chg="add del mod replST">
          <ac:chgData name="Alexandre Mercier" userId="b4fbace6-72ad-4592-b27d-535191bf0bec" providerId="ADAL" clId="{43491469-63E5-4AF4-A451-2151A57B2BCA}" dt="2023-05-23T11:02:56.850" v="34958"/>
          <ac:spMkLst>
            <pc:docMk/>
            <pc:sldMk cId="844873446" sldId="713"/>
            <ac:spMk id="404" creationId="{905AE031-5931-1050-BDDF-8D709AC0BE8C}"/>
          </ac:spMkLst>
        </pc:spChg>
        <pc:spChg chg="add del mod replST">
          <ac:chgData name="Alexandre Mercier" userId="b4fbace6-72ad-4592-b27d-535191bf0bec" providerId="ADAL" clId="{43491469-63E5-4AF4-A451-2151A57B2BCA}" dt="2023-05-23T11:02:56.850" v="34959"/>
          <ac:spMkLst>
            <pc:docMk/>
            <pc:sldMk cId="844873446" sldId="713"/>
            <ac:spMk id="405" creationId="{34AEB50B-DA59-5E7C-C18D-C188AE580739}"/>
          </ac:spMkLst>
        </pc:spChg>
        <pc:spChg chg="add del mod replST">
          <ac:chgData name="Alexandre Mercier" userId="b4fbace6-72ad-4592-b27d-535191bf0bec" providerId="ADAL" clId="{43491469-63E5-4AF4-A451-2151A57B2BCA}" dt="2023-05-23T11:02:56.851" v="34960"/>
          <ac:spMkLst>
            <pc:docMk/>
            <pc:sldMk cId="844873446" sldId="713"/>
            <ac:spMk id="406" creationId="{DE329F8E-972F-5B83-ECBC-390F5E915AF9}"/>
          </ac:spMkLst>
        </pc:spChg>
        <pc:spChg chg="add del mod replST">
          <ac:chgData name="Alexandre Mercier" userId="b4fbace6-72ad-4592-b27d-535191bf0bec" providerId="ADAL" clId="{43491469-63E5-4AF4-A451-2151A57B2BCA}" dt="2023-05-23T11:02:56.851" v="34961"/>
          <ac:spMkLst>
            <pc:docMk/>
            <pc:sldMk cId="844873446" sldId="713"/>
            <ac:spMk id="407" creationId="{9FA702CC-29C8-7386-491D-89FF1EC0D06A}"/>
          </ac:spMkLst>
        </pc:spChg>
        <pc:spChg chg="add del mod replST">
          <ac:chgData name="Alexandre Mercier" userId="b4fbace6-72ad-4592-b27d-535191bf0bec" providerId="ADAL" clId="{43491469-63E5-4AF4-A451-2151A57B2BCA}" dt="2023-05-23T11:02:56.851" v="34962"/>
          <ac:spMkLst>
            <pc:docMk/>
            <pc:sldMk cId="844873446" sldId="713"/>
            <ac:spMk id="408" creationId="{2CD1F3A6-3519-8181-E8AE-315A2CE87FD0}"/>
          </ac:spMkLst>
        </pc:spChg>
        <pc:spChg chg="add del mod replST">
          <ac:chgData name="Alexandre Mercier" userId="b4fbace6-72ad-4592-b27d-535191bf0bec" providerId="ADAL" clId="{43491469-63E5-4AF4-A451-2151A57B2BCA}" dt="2023-05-23T11:02:56.852" v="34963"/>
          <ac:spMkLst>
            <pc:docMk/>
            <pc:sldMk cId="844873446" sldId="713"/>
            <ac:spMk id="409" creationId="{9A3543D5-175C-0AE9-D595-363D0C68E242}"/>
          </ac:spMkLst>
        </pc:spChg>
        <pc:spChg chg="add del mod replST">
          <ac:chgData name="Alexandre Mercier" userId="b4fbace6-72ad-4592-b27d-535191bf0bec" providerId="ADAL" clId="{43491469-63E5-4AF4-A451-2151A57B2BCA}" dt="2023-05-23T11:02:56.852" v="34964"/>
          <ac:spMkLst>
            <pc:docMk/>
            <pc:sldMk cId="844873446" sldId="713"/>
            <ac:spMk id="410" creationId="{58BD137B-1CF2-7171-EFE3-C25A2F983224}"/>
          </ac:spMkLst>
        </pc:spChg>
        <pc:spChg chg="add del mod replST">
          <ac:chgData name="Alexandre Mercier" userId="b4fbace6-72ad-4592-b27d-535191bf0bec" providerId="ADAL" clId="{43491469-63E5-4AF4-A451-2151A57B2BCA}" dt="2023-05-23T11:02:56.853" v="34965"/>
          <ac:spMkLst>
            <pc:docMk/>
            <pc:sldMk cId="844873446" sldId="713"/>
            <ac:spMk id="411" creationId="{FAFA403E-D304-2E40-F854-5B21C9F8FB66}"/>
          </ac:spMkLst>
        </pc:spChg>
        <pc:spChg chg="add del mod replST">
          <ac:chgData name="Alexandre Mercier" userId="b4fbace6-72ad-4592-b27d-535191bf0bec" providerId="ADAL" clId="{43491469-63E5-4AF4-A451-2151A57B2BCA}" dt="2023-05-23T11:02:56.853" v="34966"/>
          <ac:spMkLst>
            <pc:docMk/>
            <pc:sldMk cId="844873446" sldId="713"/>
            <ac:spMk id="412" creationId="{D9D80EAF-A078-2DC9-B152-D8FD27665A76}"/>
          </ac:spMkLst>
        </pc:spChg>
        <pc:spChg chg="add del mod replST">
          <ac:chgData name="Alexandre Mercier" userId="b4fbace6-72ad-4592-b27d-535191bf0bec" providerId="ADAL" clId="{43491469-63E5-4AF4-A451-2151A57B2BCA}" dt="2023-05-23T11:02:56.853" v="34967"/>
          <ac:spMkLst>
            <pc:docMk/>
            <pc:sldMk cId="844873446" sldId="713"/>
            <ac:spMk id="413" creationId="{05D4C523-50BE-D635-71E6-DB9B46F4E06C}"/>
          </ac:spMkLst>
        </pc:spChg>
        <pc:spChg chg="add del mod replST">
          <ac:chgData name="Alexandre Mercier" userId="b4fbace6-72ad-4592-b27d-535191bf0bec" providerId="ADAL" clId="{43491469-63E5-4AF4-A451-2151A57B2BCA}" dt="2023-05-23T11:02:56.854" v="34968"/>
          <ac:spMkLst>
            <pc:docMk/>
            <pc:sldMk cId="844873446" sldId="713"/>
            <ac:spMk id="414" creationId="{BC5271A5-811B-3858-1C49-71CD11888809}"/>
          </ac:spMkLst>
        </pc:spChg>
        <pc:spChg chg="add del mod replST">
          <ac:chgData name="Alexandre Mercier" userId="b4fbace6-72ad-4592-b27d-535191bf0bec" providerId="ADAL" clId="{43491469-63E5-4AF4-A451-2151A57B2BCA}" dt="2023-05-23T11:02:56.854" v="34969"/>
          <ac:spMkLst>
            <pc:docMk/>
            <pc:sldMk cId="844873446" sldId="713"/>
            <ac:spMk id="415" creationId="{EDADDEB3-B515-BE79-3BD7-8EAEEB542E47}"/>
          </ac:spMkLst>
        </pc:spChg>
        <pc:spChg chg="add del mod replST">
          <ac:chgData name="Alexandre Mercier" userId="b4fbace6-72ad-4592-b27d-535191bf0bec" providerId="ADAL" clId="{43491469-63E5-4AF4-A451-2151A57B2BCA}" dt="2023-05-23T11:02:56.854" v="34970"/>
          <ac:spMkLst>
            <pc:docMk/>
            <pc:sldMk cId="844873446" sldId="713"/>
            <ac:spMk id="416" creationId="{E58243BA-74B7-68AE-BF8C-9AE004E65787}"/>
          </ac:spMkLst>
        </pc:spChg>
        <pc:spChg chg="add del mod replST">
          <ac:chgData name="Alexandre Mercier" userId="b4fbace6-72ad-4592-b27d-535191bf0bec" providerId="ADAL" clId="{43491469-63E5-4AF4-A451-2151A57B2BCA}" dt="2023-05-23T11:02:56.855" v="34971"/>
          <ac:spMkLst>
            <pc:docMk/>
            <pc:sldMk cId="844873446" sldId="713"/>
            <ac:spMk id="417" creationId="{711D0D9A-C886-AAA8-B520-E8C4A0D492B0}"/>
          </ac:spMkLst>
        </pc:spChg>
        <pc:spChg chg="add del mod replST">
          <ac:chgData name="Alexandre Mercier" userId="b4fbace6-72ad-4592-b27d-535191bf0bec" providerId="ADAL" clId="{43491469-63E5-4AF4-A451-2151A57B2BCA}" dt="2023-05-23T11:02:56.855" v="34972"/>
          <ac:spMkLst>
            <pc:docMk/>
            <pc:sldMk cId="844873446" sldId="713"/>
            <ac:spMk id="418" creationId="{C520B421-853F-E2D4-75A3-209F5BABE460}"/>
          </ac:spMkLst>
        </pc:spChg>
        <pc:spChg chg="add del mod replST">
          <ac:chgData name="Alexandre Mercier" userId="b4fbace6-72ad-4592-b27d-535191bf0bec" providerId="ADAL" clId="{43491469-63E5-4AF4-A451-2151A57B2BCA}" dt="2023-05-23T11:02:56.855" v="34973"/>
          <ac:spMkLst>
            <pc:docMk/>
            <pc:sldMk cId="844873446" sldId="713"/>
            <ac:spMk id="419" creationId="{5AE01D24-45CF-714E-E597-89D45BDAD648}"/>
          </ac:spMkLst>
        </pc:spChg>
        <pc:spChg chg="add del mod replST">
          <ac:chgData name="Alexandre Mercier" userId="b4fbace6-72ad-4592-b27d-535191bf0bec" providerId="ADAL" clId="{43491469-63E5-4AF4-A451-2151A57B2BCA}" dt="2023-05-23T11:02:56.857" v="34974"/>
          <ac:spMkLst>
            <pc:docMk/>
            <pc:sldMk cId="844873446" sldId="713"/>
            <ac:spMk id="420" creationId="{82F98F4D-D43E-E877-DAF4-2FE0838BF064}"/>
          </ac:spMkLst>
        </pc:spChg>
        <pc:spChg chg="add del mod replST">
          <ac:chgData name="Alexandre Mercier" userId="b4fbace6-72ad-4592-b27d-535191bf0bec" providerId="ADAL" clId="{43491469-63E5-4AF4-A451-2151A57B2BCA}" dt="2023-05-23T11:02:56.857" v="34975"/>
          <ac:spMkLst>
            <pc:docMk/>
            <pc:sldMk cId="844873446" sldId="713"/>
            <ac:spMk id="421" creationId="{8B561142-11CA-AB72-FB40-435A1DDB90B2}"/>
          </ac:spMkLst>
        </pc:spChg>
        <pc:spChg chg="add del mod replST">
          <ac:chgData name="Alexandre Mercier" userId="b4fbace6-72ad-4592-b27d-535191bf0bec" providerId="ADAL" clId="{43491469-63E5-4AF4-A451-2151A57B2BCA}" dt="2023-05-23T11:02:56.857" v="34976"/>
          <ac:spMkLst>
            <pc:docMk/>
            <pc:sldMk cId="844873446" sldId="713"/>
            <ac:spMk id="422" creationId="{085408EE-FEE8-1FA0-68C4-D155D53AB5B5}"/>
          </ac:spMkLst>
        </pc:spChg>
        <pc:spChg chg="add del mod replST">
          <ac:chgData name="Alexandre Mercier" userId="b4fbace6-72ad-4592-b27d-535191bf0bec" providerId="ADAL" clId="{43491469-63E5-4AF4-A451-2151A57B2BCA}" dt="2023-05-23T11:02:56.858" v="34977"/>
          <ac:spMkLst>
            <pc:docMk/>
            <pc:sldMk cId="844873446" sldId="713"/>
            <ac:spMk id="423" creationId="{55638E07-7856-A1E7-24DB-F455ACBFFBD7}"/>
          </ac:spMkLst>
        </pc:spChg>
        <pc:spChg chg="add del mod replST">
          <ac:chgData name="Alexandre Mercier" userId="b4fbace6-72ad-4592-b27d-535191bf0bec" providerId="ADAL" clId="{43491469-63E5-4AF4-A451-2151A57B2BCA}" dt="2023-05-23T11:02:56.858" v="34978"/>
          <ac:spMkLst>
            <pc:docMk/>
            <pc:sldMk cId="844873446" sldId="713"/>
            <ac:spMk id="424" creationId="{27532E6D-51FC-BFB2-6476-AFA4C0E8C1C0}"/>
          </ac:spMkLst>
        </pc:spChg>
        <pc:spChg chg="add del mod replST">
          <ac:chgData name="Alexandre Mercier" userId="b4fbace6-72ad-4592-b27d-535191bf0bec" providerId="ADAL" clId="{43491469-63E5-4AF4-A451-2151A57B2BCA}" dt="2023-05-23T11:02:56.858" v="34979"/>
          <ac:spMkLst>
            <pc:docMk/>
            <pc:sldMk cId="844873446" sldId="713"/>
            <ac:spMk id="425" creationId="{369D906B-960F-4208-9D4A-11FA631F0175}"/>
          </ac:spMkLst>
        </pc:spChg>
        <pc:spChg chg="add del mod replST">
          <ac:chgData name="Alexandre Mercier" userId="b4fbace6-72ad-4592-b27d-535191bf0bec" providerId="ADAL" clId="{43491469-63E5-4AF4-A451-2151A57B2BCA}" dt="2023-05-23T11:02:56.859" v="34980"/>
          <ac:spMkLst>
            <pc:docMk/>
            <pc:sldMk cId="844873446" sldId="713"/>
            <ac:spMk id="426" creationId="{53BD0DA1-DC54-BCD1-8BC5-D652A6A093EC}"/>
          </ac:spMkLst>
        </pc:spChg>
        <pc:spChg chg="add del mod replST">
          <ac:chgData name="Alexandre Mercier" userId="b4fbace6-72ad-4592-b27d-535191bf0bec" providerId="ADAL" clId="{43491469-63E5-4AF4-A451-2151A57B2BCA}" dt="2023-05-23T11:02:56.859" v="34981"/>
          <ac:spMkLst>
            <pc:docMk/>
            <pc:sldMk cId="844873446" sldId="713"/>
            <ac:spMk id="427" creationId="{E750FEFC-39D4-EAAD-D59A-DC40DDDA03D6}"/>
          </ac:spMkLst>
        </pc:spChg>
        <pc:spChg chg="add del mod replST">
          <ac:chgData name="Alexandre Mercier" userId="b4fbace6-72ad-4592-b27d-535191bf0bec" providerId="ADAL" clId="{43491469-63E5-4AF4-A451-2151A57B2BCA}" dt="2023-05-23T11:02:56.859" v="34982"/>
          <ac:spMkLst>
            <pc:docMk/>
            <pc:sldMk cId="844873446" sldId="713"/>
            <ac:spMk id="428" creationId="{B817109C-59D3-0207-2569-6D8D5F30E13A}"/>
          </ac:spMkLst>
        </pc:spChg>
        <pc:spChg chg="add del mod replST">
          <ac:chgData name="Alexandre Mercier" userId="b4fbace6-72ad-4592-b27d-535191bf0bec" providerId="ADAL" clId="{43491469-63E5-4AF4-A451-2151A57B2BCA}" dt="2023-05-23T11:02:56.860" v="34983"/>
          <ac:spMkLst>
            <pc:docMk/>
            <pc:sldMk cId="844873446" sldId="713"/>
            <ac:spMk id="429" creationId="{EE8846BA-3CBC-1E66-90D8-85ACDEFA4770}"/>
          </ac:spMkLst>
        </pc:spChg>
        <pc:spChg chg="add del mod replST">
          <ac:chgData name="Alexandre Mercier" userId="b4fbace6-72ad-4592-b27d-535191bf0bec" providerId="ADAL" clId="{43491469-63E5-4AF4-A451-2151A57B2BCA}" dt="2023-05-23T11:02:56.860" v="34984"/>
          <ac:spMkLst>
            <pc:docMk/>
            <pc:sldMk cId="844873446" sldId="713"/>
            <ac:spMk id="430" creationId="{CD39EFF1-D0B1-3966-8D2A-5E19791F933D}"/>
          </ac:spMkLst>
        </pc:spChg>
        <pc:spChg chg="add del mod replST">
          <ac:chgData name="Alexandre Mercier" userId="b4fbace6-72ad-4592-b27d-535191bf0bec" providerId="ADAL" clId="{43491469-63E5-4AF4-A451-2151A57B2BCA}" dt="2023-05-23T11:02:56.860" v="34985"/>
          <ac:spMkLst>
            <pc:docMk/>
            <pc:sldMk cId="844873446" sldId="713"/>
            <ac:spMk id="431" creationId="{2907A7D2-2F5F-2C43-54F2-398AB5545BEA}"/>
          </ac:spMkLst>
        </pc:spChg>
        <pc:spChg chg="add del mod replST">
          <ac:chgData name="Alexandre Mercier" userId="b4fbace6-72ad-4592-b27d-535191bf0bec" providerId="ADAL" clId="{43491469-63E5-4AF4-A451-2151A57B2BCA}" dt="2023-05-23T11:02:56.862" v="34986"/>
          <ac:spMkLst>
            <pc:docMk/>
            <pc:sldMk cId="844873446" sldId="713"/>
            <ac:spMk id="432" creationId="{CC7C8118-4168-D7CF-FA7D-71E7E832C69C}"/>
          </ac:spMkLst>
        </pc:spChg>
        <pc:spChg chg="add del mod replST">
          <ac:chgData name="Alexandre Mercier" userId="b4fbace6-72ad-4592-b27d-535191bf0bec" providerId="ADAL" clId="{43491469-63E5-4AF4-A451-2151A57B2BCA}" dt="2023-05-23T11:02:56.862" v="34987"/>
          <ac:spMkLst>
            <pc:docMk/>
            <pc:sldMk cId="844873446" sldId="713"/>
            <ac:spMk id="433" creationId="{D49D0578-8A10-5B57-9703-B3810B386A77}"/>
          </ac:spMkLst>
        </pc:spChg>
        <pc:spChg chg="add del mod replST">
          <ac:chgData name="Alexandre Mercier" userId="b4fbace6-72ad-4592-b27d-535191bf0bec" providerId="ADAL" clId="{43491469-63E5-4AF4-A451-2151A57B2BCA}" dt="2023-05-23T11:02:56.862" v="34988"/>
          <ac:spMkLst>
            <pc:docMk/>
            <pc:sldMk cId="844873446" sldId="713"/>
            <ac:spMk id="434" creationId="{99C79E8D-B808-1DB8-99F6-2C4F55C1BA65}"/>
          </ac:spMkLst>
        </pc:spChg>
        <pc:spChg chg="add del mod replST">
          <ac:chgData name="Alexandre Mercier" userId="b4fbace6-72ad-4592-b27d-535191bf0bec" providerId="ADAL" clId="{43491469-63E5-4AF4-A451-2151A57B2BCA}" dt="2023-05-23T11:02:56.863" v="34989"/>
          <ac:spMkLst>
            <pc:docMk/>
            <pc:sldMk cId="844873446" sldId="713"/>
            <ac:spMk id="435" creationId="{AF326B8C-780A-9BB3-65E7-FE70BE433299}"/>
          </ac:spMkLst>
        </pc:spChg>
        <pc:spChg chg="add del mod replST">
          <ac:chgData name="Alexandre Mercier" userId="b4fbace6-72ad-4592-b27d-535191bf0bec" providerId="ADAL" clId="{43491469-63E5-4AF4-A451-2151A57B2BCA}" dt="2023-05-23T11:02:56.863" v="34990"/>
          <ac:spMkLst>
            <pc:docMk/>
            <pc:sldMk cId="844873446" sldId="713"/>
            <ac:spMk id="436" creationId="{28C59920-9141-16BE-48EE-3D9527999AE8}"/>
          </ac:spMkLst>
        </pc:spChg>
        <pc:spChg chg="add del mod replST">
          <ac:chgData name="Alexandre Mercier" userId="b4fbace6-72ad-4592-b27d-535191bf0bec" providerId="ADAL" clId="{43491469-63E5-4AF4-A451-2151A57B2BCA}" dt="2023-05-23T11:02:56.864" v="34991"/>
          <ac:spMkLst>
            <pc:docMk/>
            <pc:sldMk cId="844873446" sldId="713"/>
            <ac:spMk id="437" creationId="{7F534F40-E21B-8537-8079-76A0DC1465EA}"/>
          </ac:spMkLst>
        </pc:spChg>
        <pc:spChg chg="add del mod replST">
          <ac:chgData name="Alexandre Mercier" userId="b4fbace6-72ad-4592-b27d-535191bf0bec" providerId="ADAL" clId="{43491469-63E5-4AF4-A451-2151A57B2BCA}" dt="2023-05-23T11:02:56.864" v="34992"/>
          <ac:spMkLst>
            <pc:docMk/>
            <pc:sldMk cId="844873446" sldId="713"/>
            <ac:spMk id="438" creationId="{8C966A9C-B3BE-FE8C-01AA-6D37C57AE175}"/>
          </ac:spMkLst>
        </pc:spChg>
        <pc:spChg chg="add del mod replST">
          <ac:chgData name="Alexandre Mercier" userId="b4fbace6-72ad-4592-b27d-535191bf0bec" providerId="ADAL" clId="{43491469-63E5-4AF4-A451-2151A57B2BCA}" dt="2023-05-23T11:02:56.865" v="34993"/>
          <ac:spMkLst>
            <pc:docMk/>
            <pc:sldMk cId="844873446" sldId="713"/>
            <ac:spMk id="439" creationId="{B469E9E4-F47C-049A-D46B-4094AC035F1E}"/>
          </ac:spMkLst>
        </pc:spChg>
        <pc:spChg chg="add del mod replST">
          <ac:chgData name="Alexandre Mercier" userId="b4fbace6-72ad-4592-b27d-535191bf0bec" providerId="ADAL" clId="{43491469-63E5-4AF4-A451-2151A57B2BCA}" dt="2023-05-23T11:02:56.865" v="34994"/>
          <ac:spMkLst>
            <pc:docMk/>
            <pc:sldMk cId="844873446" sldId="713"/>
            <ac:spMk id="440" creationId="{47F77F35-7C74-364B-7259-25C4020F3A22}"/>
          </ac:spMkLst>
        </pc:spChg>
        <pc:spChg chg="add del mod replST">
          <ac:chgData name="Alexandre Mercier" userId="b4fbace6-72ad-4592-b27d-535191bf0bec" providerId="ADAL" clId="{43491469-63E5-4AF4-A451-2151A57B2BCA}" dt="2023-05-23T11:02:56.865" v="34995"/>
          <ac:spMkLst>
            <pc:docMk/>
            <pc:sldMk cId="844873446" sldId="713"/>
            <ac:spMk id="441" creationId="{A6691CD5-7B0F-157E-8A1D-B38CADB280A5}"/>
          </ac:spMkLst>
        </pc:spChg>
        <pc:spChg chg="add del mod replST">
          <ac:chgData name="Alexandre Mercier" userId="b4fbace6-72ad-4592-b27d-535191bf0bec" providerId="ADAL" clId="{43491469-63E5-4AF4-A451-2151A57B2BCA}" dt="2023-05-23T11:02:56.866" v="34996"/>
          <ac:spMkLst>
            <pc:docMk/>
            <pc:sldMk cId="844873446" sldId="713"/>
            <ac:spMk id="442" creationId="{13A51031-E5FC-06B9-503F-BDA150B41482}"/>
          </ac:spMkLst>
        </pc:spChg>
        <pc:spChg chg="add del mod replST">
          <ac:chgData name="Alexandre Mercier" userId="b4fbace6-72ad-4592-b27d-535191bf0bec" providerId="ADAL" clId="{43491469-63E5-4AF4-A451-2151A57B2BCA}" dt="2023-05-23T11:02:56.866" v="34997"/>
          <ac:spMkLst>
            <pc:docMk/>
            <pc:sldMk cId="844873446" sldId="713"/>
            <ac:spMk id="443" creationId="{AF7DB048-7C67-33B3-F0EC-A32CB9675298}"/>
          </ac:spMkLst>
        </pc:spChg>
        <pc:spChg chg="add del mod replST">
          <ac:chgData name="Alexandre Mercier" userId="b4fbace6-72ad-4592-b27d-535191bf0bec" providerId="ADAL" clId="{43491469-63E5-4AF4-A451-2151A57B2BCA}" dt="2023-05-23T11:02:56.866" v="34998"/>
          <ac:spMkLst>
            <pc:docMk/>
            <pc:sldMk cId="844873446" sldId="713"/>
            <ac:spMk id="444" creationId="{7C15905B-DA2D-428D-C552-9441B1357222}"/>
          </ac:spMkLst>
        </pc:spChg>
        <pc:spChg chg="add del mod replST">
          <ac:chgData name="Alexandre Mercier" userId="b4fbace6-72ad-4592-b27d-535191bf0bec" providerId="ADAL" clId="{43491469-63E5-4AF4-A451-2151A57B2BCA}" dt="2023-05-23T11:02:56.867" v="34999"/>
          <ac:spMkLst>
            <pc:docMk/>
            <pc:sldMk cId="844873446" sldId="713"/>
            <ac:spMk id="445" creationId="{4F118CF6-F012-B807-78C4-C866FCF17586}"/>
          </ac:spMkLst>
        </pc:spChg>
        <pc:spChg chg="add del mod replST">
          <ac:chgData name="Alexandre Mercier" userId="b4fbace6-72ad-4592-b27d-535191bf0bec" providerId="ADAL" clId="{43491469-63E5-4AF4-A451-2151A57B2BCA}" dt="2023-05-23T11:02:56.867" v="35000"/>
          <ac:spMkLst>
            <pc:docMk/>
            <pc:sldMk cId="844873446" sldId="713"/>
            <ac:spMk id="446" creationId="{A1EE1696-027B-BB3F-CECA-63C2420EF4CD}"/>
          </ac:spMkLst>
        </pc:spChg>
        <pc:spChg chg="add del mod replST">
          <ac:chgData name="Alexandre Mercier" userId="b4fbace6-72ad-4592-b27d-535191bf0bec" providerId="ADAL" clId="{43491469-63E5-4AF4-A451-2151A57B2BCA}" dt="2023-05-23T11:02:56.867" v="35001"/>
          <ac:spMkLst>
            <pc:docMk/>
            <pc:sldMk cId="844873446" sldId="713"/>
            <ac:spMk id="447" creationId="{0463C105-C094-0559-0996-57339FFAC03E}"/>
          </ac:spMkLst>
        </pc:spChg>
        <pc:spChg chg="add del mod replST">
          <ac:chgData name="Alexandre Mercier" userId="b4fbace6-72ad-4592-b27d-535191bf0bec" providerId="ADAL" clId="{43491469-63E5-4AF4-A451-2151A57B2BCA}" dt="2023-05-23T11:02:56.868" v="35002"/>
          <ac:spMkLst>
            <pc:docMk/>
            <pc:sldMk cId="844873446" sldId="713"/>
            <ac:spMk id="448" creationId="{535762AA-C675-1035-F232-9545BB215DE7}"/>
          </ac:spMkLst>
        </pc:spChg>
        <pc:spChg chg="add del mod replST">
          <ac:chgData name="Alexandre Mercier" userId="b4fbace6-72ad-4592-b27d-535191bf0bec" providerId="ADAL" clId="{43491469-63E5-4AF4-A451-2151A57B2BCA}" dt="2023-05-23T11:02:56.868" v="35003"/>
          <ac:spMkLst>
            <pc:docMk/>
            <pc:sldMk cId="844873446" sldId="713"/>
            <ac:spMk id="449" creationId="{AF309B90-4453-64A5-E987-61D809BF33C9}"/>
          </ac:spMkLst>
        </pc:spChg>
        <pc:spChg chg="add del mod replST">
          <ac:chgData name="Alexandre Mercier" userId="b4fbace6-72ad-4592-b27d-535191bf0bec" providerId="ADAL" clId="{43491469-63E5-4AF4-A451-2151A57B2BCA}" dt="2023-05-23T11:02:56.868" v="35004"/>
          <ac:spMkLst>
            <pc:docMk/>
            <pc:sldMk cId="844873446" sldId="713"/>
            <ac:spMk id="450" creationId="{8C613067-3AAA-1F3F-B66C-64B4572731B2}"/>
          </ac:spMkLst>
        </pc:spChg>
        <pc:spChg chg="add del mod replST">
          <ac:chgData name="Alexandre Mercier" userId="b4fbace6-72ad-4592-b27d-535191bf0bec" providerId="ADAL" clId="{43491469-63E5-4AF4-A451-2151A57B2BCA}" dt="2023-05-23T11:02:56.870" v="35005"/>
          <ac:spMkLst>
            <pc:docMk/>
            <pc:sldMk cId="844873446" sldId="713"/>
            <ac:spMk id="451" creationId="{9F4E3B80-C53B-DB21-AD66-0E0DD488386E}"/>
          </ac:spMkLst>
        </pc:spChg>
        <pc:spChg chg="add del mod replST">
          <ac:chgData name="Alexandre Mercier" userId="b4fbace6-72ad-4592-b27d-535191bf0bec" providerId="ADAL" clId="{43491469-63E5-4AF4-A451-2151A57B2BCA}" dt="2023-05-23T11:02:56.870" v="35006"/>
          <ac:spMkLst>
            <pc:docMk/>
            <pc:sldMk cId="844873446" sldId="713"/>
            <ac:spMk id="452" creationId="{A71655F8-A7B0-5B24-2CC7-6042EE6CDF2B}"/>
          </ac:spMkLst>
        </pc:spChg>
        <pc:spChg chg="add del mod replST">
          <ac:chgData name="Alexandre Mercier" userId="b4fbace6-72ad-4592-b27d-535191bf0bec" providerId="ADAL" clId="{43491469-63E5-4AF4-A451-2151A57B2BCA}" dt="2023-05-23T11:02:56.870" v="35007"/>
          <ac:spMkLst>
            <pc:docMk/>
            <pc:sldMk cId="844873446" sldId="713"/>
            <ac:spMk id="453" creationId="{8E9E9E32-CCF3-27FC-1776-CD4E508EBC6D}"/>
          </ac:spMkLst>
        </pc:spChg>
        <pc:spChg chg="add del mod replST">
          <ac:chgData name="Alexandre Mercier" userId="b4fbace6-72ad-4592-b27d-535191bf0bec" providerId="ADAL" clId="{43491469-63E5-4AF4-A451-2151A57B2BCA}" dt="2023-05-23T11:02:56.871" v="35008"/>
          <ac:spMkLst>
            <pc:docMk/>
            <pc:sldMk cId="844873446" sldId="713"/>
            <ac:spMk id="454" creationId="{FDABC838-D9E6-6FAF-1FC7-38EFCE083526}"/>
          </ac:spMkLst>
        </pc:spChg>
        <pc:spChg chg="add del mod replST">
          <ac:chgData name="Alexandre Mercier" userId="b4fbace6-72ad-4592-b27d-535191bf0bec" providerId="ADAL" clId="{43491469-63E5-4AF4-A451-2151A57B2BCA}" dt="2023-05-23T11:02:56.871" v="35009"/>
          <ac:spMkLst>
            <pc:docMk/>
            <pc:sldMk cId="844873446" sldId="713"/>
            <ac:spMk id="455" creationId="{3F4F16A9-1689-710E-F088-67E3EA226784}"/>
          </ac:spMkLst>
        </pc:spChg>
        <pc:spChg chg="add del mod replST">
          <ac:chgData name="Alexandre Mercier" userId="b4fbace6-72ad-4592-b27d-535191bf0bec" providerId="ADAL" clId="{43491469-63E5-4AF4-A451-2151A57B2BCA}" dt="2023-05-23T11:02:56.871" v="35010"/>
          <ac:spMkLst>
            <pc:docMk/>
            <pc:sldMk cId="844873446" sldId="713"/>
            <ac:spMk id="456" creationId="{F7708979-FA6B-B0CB-7252-3E757DA215F0}"/>
          </ac:spMkLst>
        </pc:spChg>
        <pc:spChg chg="add del mod replST">
          <ac:chgData name="Alexandre Mercier" userId="b4fbace6-72ad-4592-b27d-535191bf0bec" providerId="ADAL" clId="{43491469-63E5-4AF4-A451-2151A57B2BCA}" dt="2023-05-23T11:02:56.872" v="35011"/>
          <ac:spMkLst>
            <pc:docMk/>
            <pc:sldMk cId="844873446" sldId="713"/>
            <ac:spMk id="457" creationId="{6B9A21D4-00D8-C854-C6A1-A5508C06A660}"/>
          </ac:spMkLst>
        </pc:spChg>
        <pc:spChg chg="add del mod replST">
          <ac:chgData name="Alexandre Mercier" userId="b4fbace6-72ad-4592-b27d-535191bf0bec" providerId="ADAL" clId="{43491469-63E5-4AF4-A451-2151A57B2BCA}" dt="2023-05-23T11:02:56.872" v="35012"/>
          <ac:spMkLst>
            <pc:docMk/>
            <pc:sldMk cId="844873446" sldId="713"/>
            <ac:spMk id="458" creationId="{D3E486BD-CA59-6817-2822-9D65DA2654D7}"/>
          </ac:spMkLst>
        </pc:spChg>
        <pc:spChg chg="add del mod replST">
          <ac:chgData name="Alexandre Mercier" userId="b4fbace6-72ad-4592-b27d-535191bf0bec" providerId="ADAL" clId="{43491469-63E5-4AF4-A451-2151A57B2BCA}" dt="2023-05-23T11:02:56.872" v="35013"/>
          <ac:spMkLst>
            <pc:docMk/>
            <pc:sldMk cId="844873446" sldId="713"/>
            <ac:spMk id="459" creationId="{59EE75C9-85F5-76B1-77B4-D3E532631B86}"/>
          </ac:spMkLst>
        </pc:spChg>
        <pc:spChg chg="add del mod replST">
          <ac:chgData name="Alexandre Mercier" userId="b4fbace6-72ad-4592-b27d-535191bf0bec" providerId="ADAL" clId="{43491469-63E5-4AF4-A451-2151A57B2BCA}" dt="2023-05-23T11:02:56.873" v="35014"/>
          <ac:spMkLst>
            <pc:docMk/>
            <pc:sldMk cId="844873446" sldId="713"/>
            <ac:spMk id="460" creationId="{6486CF1C-DB38-C8ED-6B6E-2DDB4D298A52}"/>
          </ac:spMkLst>
        </pc:spChg>
        <pc:spChg chg="add del mod replST">
          <ac:chgData name="Alexandre Mercier" userId="b4fbace6-72ad-4592-b27d-535191bf0bec" providerId="ADAL" clId="{43491469-63E5-4AF4-A451-2151A57B2BCA}" dt="2023-05-23T11:02:56.873" v="35015"/>
          <ac:spMkLst>
            <pc:docMk/>
            <pc:sldMk cId="844873446" sldId="713"/>
            <ac:spMk id="461" creationId="{01C7EF43-547C-9F3D-F53A-B319AC58744B}"/>
          </ac:spMkLst>
        </pc:spChg>
        <pc:spChg chg="add del mod replST">
          <ac:chgData name="Alexandre Mercier" userId="b4fbace6-72ad-4592-b27d-535191bf0bec" providerId="ADAL" clId="{43491469-63E5-4AF4-A451-2151A57B2BCA}" dt="2023-05-23T11:02:56.874" v="35016"/>
          <ac:spMkLst>
            <pc:docMk/>
            <pc:sldMk cId="844873446" sldId="713"/>
            <ac:spMk id="462" creationId="{B6DDB9BA-7E5F-9EC0-63EC-9FF34BDE8D8A}"/>
          </ac:spMkLst>
        </pc:spChg>
        <pc:spChg chg="add del mod replST">
          <ac:chgData name="Alexandre Mercier" userId="b4fbace6-72ad-4592-b27d-535191bf0bec" providerId="ADAL" clId="{43491469-63E5-4AF4-A451-2151A57B2BCA}" dt="2023-05-23T11:02:56.874" v="35017"/>
          <ac:spMkLst>
            <pc:docMk/>
            <pc:sldMk cId="844873446" sldId="713"/>
            <ac:spMk id="463" creationId="{941A7C01-CA3A-160D-2D90-73C379159AC1}"/>
          </ac:spMkLst>
        </pc:spChg>
        <pc:spChg chg="add del mod replST">
          <ac:chgData name="Alexandre Mercier" userId="b4fbace6-72ad-4592-b27d-535191bf0bec" providerId="ADAL" clId="{43491469-63E5-4AF4-A451-2151A57B2BCA}" dt="2023-05-23T11:02:56.875" v="35018"/>
          <ac:spMkLst>
            <pc:docMk/>
            <pc:sldMk cId="844873446" sldId="713"/>
            <ac:spMk id="464" creationId="{3D6A022B-3941-C979-F0DA-6E1EE4BE1491}"/>
          </ac:spMkLst>
        </pc:spChg>
        <pc:spChg chg="add del mod replST">
          <ac:chgData name="Alexandre Mercier" userId="b4fbace6-72ad-4592-b27d-535191bf0bec" providerId="ADAL" clId="{43491469-63E5-4AF4-A451-2151A57B2BCA}" dt="2023-05-23T11:02:56.875" v="35019"/>
          <ac:spMkLst>
            <pc:docMk/>
            <pc:sldMk cId="844873446" sldId="713"/>
            <ac:spMk id="465" creationId="{298E74C4-7964-DF47-B6A4-E058CD2BA859}"/>
          </ac:spMkLst>
        </pc:spChg>
        <pc:spChg chg="add del mod replST">
          <ac:chgData name="Alexandre Mercier" userId="b4fbace6-72ad-4592-b27d-535191bf0bec" providerId="ADAL" clId="{43491469-63E5-4AF4-A451-2151A57B2BCA}" dt="2023-05-23T11:02:56.876" v="35020"/>
          <ac:spMkLst>
            <pc:docMk/>
            <pc:sldMk cId="844873446" sldId="713"/>
            <ac:spMk id="466" creationId="{D3C67691-B962-5E08-2CE6-C54BD34730D3}"/>
          </ac:spMkLst>
        </pc:spChg>
        <pc:spChg chg="add del mod replST">
          <ac:chgData name="Alexandre Mercier" userId="b4fbace6-72ad-4592-b27d-535191bf0bec" providerId="ADAL" clId="{43491469-63E5-4AF4-A451-2151A57B2BCA}" dt="2023-05-23T11:02:56.876" v="35021"/>
          <ac:spMkLst>
            <pc:docMk/>
            <pc:sldMk cId="844873446" sldId="713"/>
            <ac:spMk id="467" creationId="{FA21AC80-8D3A-2C19-ADA5-44306672F489}"/>
          </ac:spMkLst>
        </pc:spChg>
        <pc:spChg chg="add del mod replST">
          <ac:chgData name="Alexandre Mercier" userId="b4fbace6-72ad-4592-b27d-535191bf0bec" providerId="ADAL" clId="{43491469-63E5-4AF4-A451-2151A57B2BCA}" dt="2023-05-23T11:02:56.876" v="35022"/>
          <ac:spMkLst>
            <pc:docMk/>
            <pc:sldMk cId="844873446" sldId="713"/>
            <ac:spMk id="468" creationId="{E2BF3868-C9A8-6AB6-FAD5-B2F331002391}"/>
          </ac:spMkLst>
        </pc:spChg>
        <pc:spChg chg="add del mod replST">
          <ac:chgData name="Alexandre Mercier" userId="b4fbace6-72ad-4592-b27d-535191bf0bec" providerId="ADAL" clId="{43491469-63E5-4AF4-A451-2151A57B2BCA}" dt="2023-05-23T11:02:56.877" v="35023"/>
          <ac:spMkLst>
            <pc:docMk/>
            <pc:sldMk cId="844873446" sldId="713"/>
            <ac:spMk id="469" creationId="{47B7CBE1-8082-F172-16DC-9B08D4287B1F}"/>
          </ac:spMkLst>
        </pc:spChg>
        <pc:spChg chg="add del mod replST">
          <ac:chgData name="Alexandre Mercier" userId="b4fbace6-72ad-4592-b27d-535191bf0bec" providerId="ADAL" clId="{43491469-63E5-4AF4-A451-2151A57B2BCA}" dt="2023-05-23T11:02:56.877" v="35024"/>
          <ac:spMkLst>
            <pc:docMk/>
            <pc:sldMk cId="844873446" sldId="713"/>
            <ac:spMk id="470" creationId="{0EAFBABA-E55E-DC04-73E5-31A35F73D6EE}"/>
          </ac:spMkLst>
        </pc:spChg>
        <pc:spChg chg="add del mod replST">
          <ac:chgData name="Alexandre Mercier" userId="b4fbace6-72ad-4592-b27d-535191bf0bec" providerId="ADAL" clId="{43491469-63E5-4AF4-A451-2151A57B2BCA}" dt="2023-05-23T11:02:56.877" v="35025"/>
          <ac:spMkLst>
            <pc:docMk/>
            <pc:sldMk cId="844873446" sldId="713"/>
            <ac:spMk id="471" creationId="{28601236-A20D-73C7-B50D-6B4F7E8FDD12}"/>
          </ac:spMkLst>
        </pc:spChg>
        <pc:spChg chg="add del mod replST">
          <ac:chgData name="Alexandre Mercier" userId="b4fbace6-72ad-4592-b27d-535191bf0bec" providerId="ADAL" clId="{43491469-63E5-4AF4-A451-2151A57B2BCA}" dt="2023-05-23T11:02:56.878" v="35026"/>
          <ac:spMkLst>
            <pc:docMk/>
            <pc:sldMk cId="844873446" sldId="713"/>
            <ac:spMk id="472" creationId="{04D43895-C674-7FC3-6355-B0723A6D1A77}"/>
          </ac:spMkLst>
        </pc:spChg>
        <pc:spChg chg="add del mod replST">
          <ac:chgData name="Alexandre Mercier" userId="b4fbace6-72ad-4592-b27d-535191bf0bec" providerId="ADAL" clId="{43491469-63E5-4AF4-A451-2151A57B2BCA}" dt="2023-05-23T11:02:56.878" v="35027"/>
          <ac:spMkLst>
            <pc:docMk/>
            <pc:sldMk cId="844873446" sldId="713"/>
            <ac:spMk id="473" creationId="{40F0EF15-4CE2-C3ED-19E8-B102968A3308}"/>
          </ac:spMkLst>
        </pc:spChg>
        <pc:spChg chg="add del mod replST">
          <ac:chgData name="Alexandre Mercier" userId="b4fbace6-72ad-4592-b27d-535191bf0bec" providerId="ADAL" clId="{43491469-63E5-4AF4-A451-2151A57B2BCA}" dt="2023-05-23T11:02:56.878" v="35028"/>
          <ac:spMkLst>
            <pc:docMk/>
            <pc:sldMk cId="844873446" sldId="713"/>
            <ac:spMk id="474" creationId="{7491DD08-A861-FD55-F208-62406F84CB63}"/>
          </ac:spMkLst>
        </pc:spChg>
        <pc:spChg chg="add del mod replST">
          <ac:chgData name="Alexandre Mercier" userId="b4fbace6-72ad-4592-b27d-535191bf0bec" providerId="ADAL" clId="{43491469-63E5-4AF4-A451-2151A57B2BCA}" dt="2023-05-23T11:02:56.879" v="35029"/>
          <ac:spMkLst>
            <pc:docMk/>
            <pc:sldMk cId="844873446" sldId="713"/>
            <ac:spMk id="475" creationId="{8330CD2D-3304-C0C5-21AB-1677ED8979A5}"/>
          </ac:spMkLst>
        </pc:spChg>
        <pc:spChg chg="add del mod replST">
          <ac:chgData name="Alexandre Mercier" userId="b4fbace6-72ad-4592-b27d-535191bf0bec" providerId="ADAL" clId="{43491469-63E5-4AF4-A451-2151A57B2BCA}" dt="2023-05-23T11:02:56.879" v="35030"/>
          <ac:spMkLst>
            <pc:docMk/>
            <pc:sldMk cId="844873446" sldId="713"/>
            <ac:spMk id="476" creationId="{24CD3C2D-83C1-C2C2-3EC9-81A4BF2F4331}"/>
          </ac:spMkLst>
        </pc:spChg>
        <pc:spChg chg="add del mod replST">
          <ac:chgData name="Alexandre Mercier" userId="b4fbace6-72ad-4592-b27d-535191bf0bec" providerId="ADAL" clId="{43491469-63E5-4AF4-A451-2151A57B2BCA}" dt="2023-05-23T11:02:56.879" v="35031"/>
          <ac:spMkLst>
            <pc:docMk/>
            <pc:sldMk cId="844873446" sldId="713"/>
            <ac:spMk id="477" creationId="{3F833F6C-5D40-8DA1-56E1-346FC716B264}"/>
          </ac:spMkLst>
        </pc:spChg>
        <pc:spChg chg="add del mod replST">
          <ac:chgData name="Alexandre Mercier" userId="b4fbace6-72ad-4592-b27d-535191bf0bec" providerId="ADAL" clId="{43491469-63E5-4AF4-A451-2151A57B2BCA}" dt="2023-05-23T11:02:56.880" v="35032"/>
          <ac:spMkLst>
            <pc:docMk/>
            <pc:sldMk cId="844873446" sldId="713"/>
            <ac:spMk id="478" creationId="{AB03D016-33CD-C4AB-9FD7-4531E082F273}"/>
          </ac:spMkLst>
        </pc:spChg>
        <pc:spChg chg="add del mod replST">
          <ac:chgData name="Alexandre Mercier" userId="b4fbace6-72ad-4592-b27d-535191bf0bec" providerId="ADAL" clId="{43491469-63E5-4AF4-A451-2151A57B2BCA}" dt="2023-05-23T11:02:56.880" v="35033"/>
          <ac:spMkLst>
            <pc:docMk/>
            <pc:sldMk cId="844873446" sldId="713"/>
            <ac:spMk id="479" creationId="{F977B4BB-6285-F567-83DD-9A9BF3016EE6}"/>
          </ac:spMkLst>
        </pc:spChg>
        <pc:spChg chg="add del mod replST">
          <ac:chgData name="Alexandre Mercier" userId="b4fbace6-72ad-4592-b27d-535191bf0bec" providerId="ADAL" clId="{43491469-63E5-4AF4-A451-2151A57B2BCA}" dt="2023-05-23T11:02:56.881" v="35034"/>
          <ac:spMkLst>
            <pc:docMk/>
            <pc:sldMk cId="844873446" sldId="713"/>
            <ac:spMk id="480" creationId="{6BE244A5-87CC-5A98-5B99-23A29C934D62}"/>
          </ac:spMkLst>
        </pc:spChg>
        <pc:spChg chg="add del mod replST">
          <ac:chgData name="Alexandre Mercier" userId="b4fbace6-72ad-4592-b27d-535191bf0bec" providerId="ADAL" clId="{43491469-63E5-4AF4-A451-2151A57B2BCA}" dt="2023-05-23T11:02:56.881" v="35035"/>
          <ac:spMkLst>
            <pc:docMk/>
            <pc:sldMk cId="844873446" sldId="713"/>
            <ac:spMk id="481" creationId="{3596D564-EC37-E0C8-5C76-FAD22620E7CF}"/>
          </ac:spMkLst>
        </pc:spChg>
        <pc:spChg chg="add del mod replST">
          <ac:chgData name="Alexandre Mercier" userId="b4fbace6-72ad-4592-b27d-535191bf0bec" providerId="ADAL" clId="{43491469-63E5-4AF4-A451-2151A57B2BCA}" dt="2023-05-23T11:02:56.882" v="35036"/>
          <ac:spMkLst>
            <pc:docMk/>
            <pc:sldMk cId="844873446" sldId="713"/>
            <ac:spMk id="482" creationId="{E8670DDB-C555-3B65-7761-65123283CBB7}"/>
          </ac:spMkLst>
        </pc:spChg>
        <pc:spChg chg="add del mod replST">
          <ac:chgData name="Alexandre Mercier" userId="b4fbace6-72ad-4592-b27d-535191bf0bec" providerId="ADAL" clId="{43491469-63E5-4AF4-A451-2151A57B2BCA}" dt="2023-05-23T11:02:56.882" v="35037"/>
          <ac:spMkLst>
            <pc:docMk/>
            <pc:sldMk cId="844873446" sldId="713"/>
            <ac:spMk id="483" creationId="{7194C8D4-5013-3C90-5F83-C17C9CAAD594}"/>
          </ac:spMkLst>
        </pc:spChg>
        <pc:spChg chg="add del mod replST">
          <ac:chgData name="Alexandre Mercier" userId="b4fbace6-72ad-4592-b27d-535191bf0bec" providerId="ADAL" clId="{43491469-63E5-4AF4-A451-2151A57B2BCA}" dt="2023-05-23T11:02:56.883" v="35038"/>
          <ac:spMkLst>
            <pc:docMk/>
            <pc:sldMk cId="844873446" sldId="713"/>
            <ac:spMk id="484" creationId="{2CD6441F-6F1F-042B-5247-6DE89CD499CA}"/>
          </ac:spMkLst>
        </pc:spChg>
        <pc:spChg chg="add del mod replST">
          <ac:chgData name="Alexandre Mercier" userId="b4fbace6-72ad-4592-b27d-535191bf0bec" providerId="ADAL" clId="{43491469-63E5-4AF4-A451-2151A57B2BCA}" dt="2023-05-23T11:02:56.883" v="35039"/>
          <ac:spMkLst>
            <pc:docMk/>
            <pc:sldMk cId="844873446" sldId="713"/>
            <ac:spMk id="485" creationId="{04343987-DC8C-AAA8-1A28-EB4A41556D63}"/>
          </ac:spMkLst>
        </pc:spChg>
        <pc:spChg chg="add del mod replST">
          <ac:chgData name="Alexandre Mercier" userId="b4fbace6-72ad-4592-b27d-535191bf0bec" providerId="ADAL" clId="{43491469-63E5-4AF4-A451-2151A57B2BCA}" dt="2023-05-23T11:02:56.883" v="35040"/>
          <ac:spMkLst>
            <pc:docMk/>
            <pc:sldMk cId="844873446" sldId="713"/>
            <ac:spMk id="486" creationId="{1252DFA2-E60E-FEA5-7F47-B09FE162C093}"/>
          </ac:spMkLst>
        </pc:spChg>
        <pc:spChg chg="add del mod replST">
          <ac:chgData name="Alexandre Mercier" userId="b4fbace6-72ad-4592-b27d-535191bf0bec" providerId="ADAL" clId="{43491469-63E5-4AF4-A451-2151A57B2BCA}" dt="2023-05-23T11:02:56.884" v="35041"/>
          <ac:spMkLst>
            <pc:docMk/>
            <pc:sldMk cId="844873446" sldId="713"/>
            <ac:spMk id="487" creationId="{24FD2F9E-3448-4385-9D6C-0D56563AFEB0}"/>
          </ac:spMkLst>
        </pc:spChg>
        <pc:spChg chg="add del mod replST">
          <ac:chgData name="Alexandre Mercier" userId="b4fbace6-72ad-4592-b27d-535191bf0bec" providerId="ADAL" clId="{43491469-63E5-4AF4-A451-2151A57B2BCA}" dt="2023-05-23T11:02:56.884" v="35042"/>
          <ac:spMkLst>
            <pc:docMk/>
            <pc:sldMk cId="844873446" sldId="713"/>
            <ac:spMk id="488" creationId="{CFFC65F1-36A9-171D-CE78-85EA254AB128}"/>
          </ac:spMkLst>
        </pc:spChg>
        <pc:spChg chg="add del mod replST">
          <ac:chgData name="Alexandre Mercier" userId="b4fbace6-72ad-4592-b27d-535191bf0bec" providerId="ADAL" clId="{43491469-63E5-4AF4-A451-2151A57B2BCA}" dt="2023-05-23T11:02:56.884" v="35043"/>
          <ac:spMkLst>
            <pc:docMk/>
            <pc:sldMk cId="844873446" sldId="713"/>
            <ac:spMk id="489" creationId="{9CDFF328-3CBD-99F0-84E8-D8BD026D15D3}"/>
          </ac:spMkLst>
        </pc:spChg>
        <pc:spChg chg="add del mod replST">
          <ac:chgData name="Alexandre Mercier" userId="b4fbace6-72ad-4592-b27d-535191bf0bec" providerId="ADAL" clId="{43491469-63E5-4AF4-A451-2151A57B2BCA}" dt="2023-05-23T11:02:56.885" v="35044"/>
          <ac:spMkLst>
            <pc:docMk/>
            <pc:sldMk cId="844873446" sldId="713"/>
            <ac:spMk id="490" creationId="{2E9FBA3C-8742-A195-383E-841311F87ECC}"/>
          </ac:spMkLst>
        </pc:spChg>
        <pc:spChg chg="add del mod replST">
          <ac:chgData name="Alexandre Mercier" userId="b4fbace6-72ad-4592-b27d-535191bf0bec" providerId="ADAL" clId="{43491469-63E5-4AF4-A451-2151A57B2BCA}" dt="2023-05-23T11:02:56.886" v="35045"/>
          <ac:spMkLst>
            <pc:docMk/>
            <pc:sldMk cId="844873446" sldId="713"/>
            <ac:spMk id="491" creationId="{B6F17630-365E-DE29-5539-7296503237D8}"/>
          </ac:spMkLst>
        </pc:spChg>
        <pc:spChg chg="add del mod replST">
          <ac:chgData name="Alexandre Mercier" userId="b4fbace6-72ad-4592-b27d-535191bf0bec" providerId="ADAL" clId="{43491469-63E5-4AF4-A451-2151A57B2BCA}" dt="2023-05-23T11:02:56.886" v="35046"/>
          <ac:spMkLst>
            <pc:docMk/>
            <pc:sldMk cId="844873446" sldId="713"/>
            <ac:spMk id="492" creationId="{DD42C030-9F99-5B86-39BD-33133CAF895A}"/>
          </ac:spMkLst>
        </pc:spChg>
        <pc:spChg chg="add del mod replST">
          <ac:chgData name="Alexandre Mercier" userId="b4fbace6-72ad-4592-b27d-535191bf0bec" providerId="ADAL" clId="{43491469-63E5-4AF4-A451-2151A57B2BCA}" dt="2023-05-23T11:02:56.886" v="35047"/>
          <ac:spMkLst>
            <pc:docMk/>
            <pc:sldMk cId="844873446" sldId="713"/>
            <ac:spMk id="493" creationId="{C42F06B6-1069-59FA-0AD1-E5DB829CF75C}"/>
          </ac:spMkLst>
        </pc:spChg>
        <pc:spChg chg="add del mod replST">
          <ac:chgData name="Alexandre Mercier" userId="b4fbace6-72ad-4592-b27d-535191bf0bec" providerId="ADAL" clId="{43491469-63E5-4AF4-A451-2151A57B2BCA}" dt="2023-05-23T11:02:56.887" v="35048"/>
          <ac:spMkLst>
            <pc:docMk/>
            <pc:sldMk cId="844873446" sldId="713"/>
            <ac:spMk id="494" creationId="{F369C544-0A2B-589B-6FDD-26E5A64E4ED4}"/>
          </ac:spMkLst>
        </pc:spChg>
        <pc:spChg chg="add del mod replST">
          <ac:chgData name="Alexandre Mercier" userId="b4fbace6-72ad-4592-b27d-535191bf0bec" providerId="ADAL" clId="{43491469-63E5-4AF4-A451-2151A57B2BCA}" dt="2023-05-23T11:02:56.887" v="35049"/>
          <ac:spMkLst>
            <pc:docMk/>
            <pc:sldMk cId="844873446" sldId="713"/>
            <ac:spMk id="495" creationId="{B9162817-20BD-280A-CB26-093C1B4F0E4E}"/>
          </ac:spMkLst>
        </pc:spChg>
        <pc:spChg chg="add del mod replST">
          <ac:chgData name="Alexandre Mercier" userId="b4fbace6-72ad-4592-b27d-535191bf0bec" providerId="ADAL" clId="{43491469-63E5-4AF4-A451-2151A57B2BCA}" dt="2023-05-23T11:02:56.888" v="35050"/>
          <ac:spMkLst>
            <pc:docMk/>
            <pc:sldMk cId="844873446" sldId="713"/>
            <ac:spMk id="496" creationId="{C950D280-11FA-B62E-617E-E6BBA51A5323}"/>
          </ac:spMkLst>
        </pc:spChg>
        <pc:spChg chg="add del mod replST">
          <ac:chgData name="Alexandre Mercier" userId="b4fbace6-72ad-4592-b27d-535191bf0bec" providerId="ADAL" clId="{43491469-63E5-4AF4-A451-2151A57B2BCA}" dt="2023-05-23T11:02:56.888" v="35051"/>
          <ac:spMkLst>
            <pc:docMk/>
            <pc:sldMk cId="844873446" sldId="713"/>
            <ac:spMk id="497" creationId="{596AFDAD-1B41-329A-3975-18CB396827E7}"/>
          </ac:spMkLst>
        </pc:spChg>
        <pc:spChg chg="add del mod replST">
          <ac:chgData name="Alexandre Mercier" userId="b4fbace6-72ad-4592-b27d-535191bf0bec" providerId="ADAL" clId="{43491469-63E5-4AF4-A451-2151A57B2BCA}" dt="2023-05-23T11:02:56.888" v="35052"/>
          <ac:spMkLst>
            <pc:docMk/>
            <pc:sldMk cId="844873446" sldId="713"/>
            <ac:spMk id="498" creationId="{86977555-0A22-698E-D633-CB2AE2EC3FE0}"/>
          </ac:spMkLst>
        </pc:spChg>
        <pc:spChg chg="add del mod replST">
          <ac:chgData name="Alexandre Mercier" userId="b4fbace6-72ad-4592-b27d-535191bf0bec" providerId="ADAL" clId="{43491469-63E5-4AF4-A451-2151A57B2BCA}" dt="2023-05-23T11:02:56.889" v="35053"/>
          <ac:spMkLst>
            <pc:docMk/>
            <pc:sldMk cId="844873446" sldId="713"/>
            <ac:spMk id="499" creationId="{E73BD169-E15E-53B8-7607-5566C0B600DF}"/>
          </ac:spMkLst>
        </pc:spChg>
        <pc:spChg chg="add del mod replST">
          <ac:chgData name="Alexandre Mercier" userId="b4fbace6-72ad-4592-b27d-535191bf0bec" providerId="ADAL" clId="{43491469-63E5-4AF4-A451-2151A57B2BCA}" dt="2023-05-23T11:02:56.889" v="35054"/>
          <ac:spMkLst>
            <pc:docMk/>
            <pc:sldMk cId="844873446" sldId="713"/>
            <ac:spMk id="500" creationId="{AC22F883-7CB0-22EA-B8D4-6529AC5B6027}"/>
          </ac:spMkLst>
        </pc:spChg>
        <pc:spChg chg="add del mod replST">
          <ac:chgData name="Alexandre Mercier" userId="b4fbace6-72ad-4592-b27d-535191bf0bec" providerId="ADAL" clId="{43491469-63E5-4AF4-A451-2151A57B2BCA}" dt="2023-05-23T11:02:56.889" v="35055"/>
          <ac:spMkLst>
            <pc:docMk/>
            <pc:sldMk cId="844873446" sldId="713"/>
            <ac:spMk id="501" creationId="{C9E4EBD1-3038-D32C-AF0E-EB87939C301F}"/>
          </ac:spMkLst>
        </pc:spChg>
        <pc:spChg chg="add del mod replST">
          <ac:chgData name="Alexandre Mercier" userId="b4fbace6-72ad-4592-b27d-535191bf0bec" providerId="ADAL" clId="{43491469-63E5-4AF4-A451-2151A57B2BCA}" dt="2023-05-23T11:02:56.890" v="35056"/>
          <ac:spMkLst>
            <pc:docMk/>
            <pc:sldMk cId="844873446" sldId="713"/>
            <ac:spMk id="502" creationId="{F483BF2A-74F9-838E-CB15-32CA57B2D591}"/>
          </ac:spMkLst>
        </pc:spChg>
        <pc:spChg chg="add del mod replST">
          <ac:chgData name="Alexandre Mercier" userId="b4fbace6-72ad-4592-b27d-535191bf0bec" providerId="ADAL" clId="{43491469-63E5-4AF4-A451-2151A57B2BCA}" dt="2023-05-23T11:02:56.890" v="35057"/>
          <ac:spMkLst>
            <pc:docMk/>
            <pc:sldMk cId="844873446" sldId="713"/>
            <ac:spMk id="503" creationId="{3A50D74C-2E03-2197-2CF3-7B3B8BED7EA2}"/>
          </ac:spMkLst>
        </pc:spChg>
        <pc:spChg chg="add del mod replST">
          <ac:chgData name="Alexandre Mercier" userId="b4fbace6-72ad-4592-b27d-535191bf0bec" providerId="ADAL" clId="{43491469-63E5-4AF4-A451-2151A57B2BCA}" dt="2023-05-23T11:02:56.890" v="35058"/>
          <ac:spMkLst>
            <pc:docMk/>
            <pc:sldMk cId="844873446" sldId="713"/>
            <ac:spMk id="504" creationId="{6D4F5548-9621-8FFB-4F5E-0577783F61BD}"/>
          </ac:spMkLst>
        </pc:spChg>
        <pc:spChg chg="add del mod replST">
          <ac:chgData name="Alexandre Mercier" userId="b4fbace6-72ad-4592-b27d-535191bf0bec" providerId="ADAL" clId="{43491469-63E5-4AF4-A451-2151A57B2BCA}" dt="2023-05-23T11:02:56.891" v="35059"/>
          <ac:spMkLst>
            <pc:docMk/>
            <pc:sldMk cId="844873446" sldId="713"/>
            <ac:spMk id="505" creationId="{93BFA5F6-E5A1-0510-4F58-B30EA3B6A677}"/>
          </ac:spMkLst>
        </pc:spChg>
        <pc:spChg chg="add del mod replST">
          <ac:chgData name="Alexandre Mercier" userId="b4fbace6-72ad-4592-b27d-535191bf0bec" providerId="ADAL" clId="{43491469-63E5-4AF4-A451-2151A57B2BCA}" dt="2023-05-23T11:02:56.891" v="35060"/>
          <ac:spMkLst>
            <pc:docMk/>
            <pc:sldMk cId="844873446" sldId="713"/>
            <ac:spMk id="506" creationId="{F7FECDF8-4751-CF9C-CB18-9399B67EA41C}"/>
          </ac:spMkLst>
        </pc:spChg>
        <pc:spChg chg="add del mod replST">
          <ac:chgData name="Alexandre Mercier" userId="b4fbace6-72ad-4592-b27d-535191bf0bec" providerId="ADAL" clId="{43491469-63E5-4AF4-A451-2151A57B2BCA}" dt="2023-05-23T11:02:56.891" v="35061"/>
          <ac:spMkLst>
            <pc:docMk/>
            <pc:sldMk cId="844873446" sldId="713"/>
            <ac:spMk id="507" creationId="{D17EB5C1-3DAD-AD76-2AD4-B324E7369319}"/>
          </ac:spMkLst>
        </pc:spChg>
        <pc:spChg chg="add del mod replST">
          <ac:chgData name="Alexandre Mercier" userId="b4fbace6-72ad-4592-b27d-535191bf0bec" providerId="ADAL" clId="{43491469-63E5-4AF4-A451-2151A57B2BCA}" dt="2023-05-23T11:02:56.892" v="35062"/>
          <ac:spMkLst>
            <pc:docMk/>
            <pc:sldMk cId="844873446" sldId="713"/>
            <ac:spMk id="508" creationId="{6AF4D6A6-5078-3D48-B2ED-7A71DC11AB49}"/>
          </ac:spMkLst>
        </pc:spChg>
        <pc:spChg chg="add del mod replST">
          <ac:chgData name="Alexandre Mercier" userId="b4fbace6-72ad-4592-b27d-535191bf0bec" providerId="ADAL" clId="{43491469-63E5-4AF4-A451-2151A57B2BCA}" dt="2023-05-23T11:02:56.892" v="35063"/>
          <ac:spMkLst>
            <pc:docMk/>
            <pc:sldMk cId="844873446" sldId="713"/>
            <ac:spMk id="509" creationId="{CDBAA1A2-DA70-5A79-7F31-5A5589B29D83}"/>
          </ac:spMkLst>
        </pc:spChg>
        <pc:spChg chg="add del mod replST">
          <ac:chgData name="Alexandre Mercier" userId="b4fbace6-72ad-4592-b27d-535191bf0bec" providerId="ADAL" clId="{43491469-63E5-4AF4-A451-2151A57B2BCA}" dt="2023-05-23T11:02:56.893" v="35064"/>
          <ac:spMkLst>
            <pc:docMk/>
            <pc:sldMk cId="844873446" sldId="713"/>
            <ac:spMk id="510" creationId="{27890DEE-C4A0-3DF0-8A51-221495AAA1EC}"/>
          </ac:spMkLst>
        </pc:spChg>
        <pc:spChg chg="add del mod replST">
          <ac:chgData name="Alexandre Mercier" userId="b4fbace6-72ad-4592-b27d-535191bf0bec" providerId="ADAL" clId="{43491469-63E5-4AF4-A451-2151A57B2BCA}" dt="2023-05-23T11:02:56.893" v="35065"/>
          <ac:spMkLst>
            <pc:docMk/>
            <pc:sldMk cId="844873446" sldId="713"/>
            <ac:spMk id="511" creationId="{7F5DBFDF-1346-6BF9-C30F-070169C302AB}"/>
          </ac:spMkLst>
        </pc:spChg>
        <pc:spChg chg="add del mod replST">
          <ac:chgData name="Alexandre Mercier" userId="b4fbace6-72ad-4592-b27d-535191bf0bec" providerId="ADAL" clId="{43491469-63E5-4AF4-A451-2151A57B2BCA}" dt="2023-05-23T11:02:56.894" v="35066"/>
          <ac:spMkLst>
            <pc:docMk/>
            <pc:sldMk cId="844873446" sldId="713"/>
            <ac:spMk id="512" creationId="{ED1182EC-8F32-1BD8-B7E4-9E939CD8CE6D}"/>
          </ac:spMkLst>
        </pc:spChg>
        <pc:spChg chg="add del mod replST">
          <ac:chgData name="Alexandre Mercier" userId="b4fbace6-72ad-4592-b27d-535191bf0bec" providerId="ADAL" clId="{43491469-63E5-4AF4-A451-2151A57B2BCA}" dt="2023-05-23T11:02:56.894" v="35067"/>
          <ac:spMkLst>
            <pc:docMk/>
            <pc:sldMk cId="844873446" sldId="713"/>
            <ac:spMk id="513" creationId="{0DD0A022-8F8F-E9B1-3386-9660DE62CF25}"/>
          </ac:spMkLst>
        </pc:spChg>
        <pc:spChg chg="add del mod replST">
          <ac:chgData name="Alexandre Mercier" userId="b4fbace6-72ad-4592-b27d-535191bf0bec" providerId="ADAL" clId="{43491469-63E5-4AF4-A451-2151A57B2BCA}" dt="2023-05-23T11:02:56.894" v="35068"/>
          <ac:spMkLst>
            <pc:docMk/>
            <pc:sldMk cId="844873446" sldId="713"/>
            <ac:spMk id="514" creationId="{BF85558D-862C-097C-7E4F-EE4067C28A7D}"/>
          </ac:spMkLst>
        </pc:spChg>
        <pc:spChg chg="add del mod replST">
          <ac:chgData name="Alexandre Mercier" userId="b4fbace6-72ad-4592-b27d-535191bf0bec" providerId="ADAL" clId="{43491469-63E5-4AF4-A451-2151A57B2BCA}" dt="2023-05-23T11:02:56.895" v="35069"/>
          <ac:spMkLst>
            <pc:docMk/>
            <pc:sldMk cId="844873446" sldId="713"/>
            <ac:spMk id="515" creationId="{47B044A7-5F84-85F5-AA48-2CBB50C472EC}"/>
          </ac:spMkLst>
        </pc:spChg>
        <pc:spChg chg="add del mod replST">
          <ac:chgData name="Alexandre Mercier" userId="b4fbace6-72ad-4592-b27d-535191bf0bec" providerId="ADAL" clId="{43491469-63E5-4AF4-A451-2151A57B2BCA}" dt="2023-05-23T11:02:56.895" v="35070"/>
          <ac:spMkLst>
            <pc:docMk/>
            <pc:sldMk cId="844873446" sldId="713"/>
            <ac:spMk id="516" creationId="{0FB5FB21-5ACF-E035-691F-A323B4FD2DFA}"/>
          </ac:spMkLst>
        </pc:spChg>
        <pc:spChg chg="add del mod replST">
          <ac:chgData name="Alexandre Mercier" userId="b4fbace6-72ad-4592-b27d-535191bf0bec" providerId="ADAL" clId="{43491469-63E5-4AF4-A451-2151A57B2BCA}" dt="2023-05-23T11:02:56.895" v="35071"/>
          <ac:spMkLst>
            <pc:docMk/>
            <pc:sldMk cId="844873446" sldId="713"/>
            <ac:spMk id="517" creationId="{EF84E634-A6A2-AAE7-5E90-8976598ADE86}"/>
          </ac:spMkLst>
        </pc:spChg>
        <pc:spChg chg="add del mod replST">
          <ac:chgData name="Alexandre Mercier" userId="b4fbace6-72ad-4592-b27d-535191bf0bec" providerId="ADAL" clId="{43491469-63E5-4AF4-A451-2151A57B2BCA}" dt="2023-05-23T11:02:56.896" v="35072"/>
          <ac:spMkLst>
            <pc:docMk/>
            <pc:sldMk cId="844873446" sldId="713"/>
            <ac:spMk id="518" creationId="{852786A8-E565-8716-D85E-557445602C03}"/>
          </ac:spMkLst>
        </pc:spChg>
        <pc:spChg chg="add del mod replST">
          <ac:chgData name="Alexandre Mercier" userId="b4fbace6-72ad-4592-b27d-535191bf0bec" providerId="ADAL" clId="{43491469-63E5-4AF4-A451-2151A57B2BCA}" dt="2023-05-23T11:02:56.896" v="35073"/>
          <ac:spMkLst>
            <pc:docMk/>
            <pc:sldMk cId="844873446" sldId="713"/>
            <ac:spMk id="519" creationId="{D325A77F-A7E4-7B06-B4BB-8E8AB759644B}"/>
          </ac:spMkLst>
        </pc:spChg>
        <pc:spChg chg="add del mod replST">
          <ac:chgData name="Alexandre Mercier" userId="b4fbace6-72ad-4592-b27d-535191bf0bec" providerId="ADAL" clId="{43491469-63E5-4AF4-A451-2151A57B2BCA}" dt="2023-05-23T11:02:56.896" v="35074"/>
          <ac:spMkLst>
            <pc:docMk/>
            <pc:sldMk cId="844873446" sldId="713"/>
            <ac:spMk id="520" creationId="{ED103FF1-C4F5-003F-CDA1-9A167417E84F}"/>
          </ac:spMkLst>
        </pc:spChg>
        <pc:spChg chg="add del mod replST">
          <ac:chgData name="Alexandre Mercier" userId="b4fbace6-72ad-4592-b27d-535191bf0bec" providerId="ADAL" clId="{43491469-63E5-4AF4-A451-2151A57B2BCA}" dt="2023-05-23T11:02:56.897" v="35075"/>
          <ac:spMkLst>
            <pc:docMk/>
            <pc:sldMk cId="844873446" sldId="713"/>
            <ac:spMk id="521" creationId="{C4E3C51D-D151-EFE3-9983-AD2F98E1CBE6}"/>
          </ac:spMkLst>
        </pc:spChg>
        <pc:spChg chg="add del mod replST">
          <ac:chgData name="Alexandre Mercier" userId="b4fbace6-72ad-4592-b27d-535191bf0bec" providerId="ADAL" clId="{43491469-63E5-4AF4-A451-2151A57B2BCA}" dt="2023-05-23T11:02:56.897" v="35076"/>
          <ac:spMkLst>
            <pc:docMk/>
            <pc:sldMk cId="844873446" sldId="713"/>
            <ac:spMk id="522" creationId="{FF9CA2DD-F6E8-6B67-9E8F-856C8F2D68C3}"/>
          </ac:spMkLst>
        </pc:spChg>
        <pc:spChg chg="add del mod replST">
          <ac:chgData name="Alexandre Mercier" userId="b4fbace6-72ad-4592-b27d-535191bf0bec" providerId="ADAL" clId="{43491469-63E5-4AF4-A451-2151A57B2BCA}" dt="2023-05-23T11:02:56.898" v="35077"/>
          <ac:spMkLst>
            <pc:docMk/>
            <pc:sldMk cId="844873446" sldId="713"/>
            <ac:spMk id="523" creationId="{110912B4-736D-0D80-994C-73026F7BCEEF}"/>
          </ac:spMkLst>
        </pc:spChg>
        <pc:spChg chg="add del mod replST">
          <ac:chgData name="Alexandre Mercier" userId="b4fbace6-72ad-4592-b27d-535191bf0bec" providerId="ADAL" clId="{43491469-63E5-4AF4-A451-2151A57B2BCA}" dt="2023-05-23T11:02:56.898" v="35078"/>
          <ac:spMkLst>
            <pc:docMk/>
            <pc:sldMk cId="844873446" sldId="713"/>
            <ac:spMk id="524" creationId="{E40968A5-68EF-C9E3-026D-E71D2D897715}"/>
          </ac:spMkLst>
        </pc:spChg>
        <pc:spChg chg="add del mod replST">
          <ac:chgData name="Alexandre Mercier" userId="b4fbace6-72ad-4592-b27d-535191bf0bec" providerId="ADAL" clId="{43491469-63E5-4AF4-A451-2151A57B2BCA}" dt="2023-05-23T11:02:56.898" v="35079"/>
          <ac:spMkLst>
            <pc:docMk/>
            <pc:sldMk cId="844873446" sldId="713"/>
            <ac:spMk id="525" creationId="{07E03E71-6671-D76E-579E-448028C34098}"/>
          </ac:spMkLst>
        </pc:spChg>
        <pc:spChg chg="add del mod replST">
          <ac:chgData name="Alexandre Mercier" userId="b4fbace6-72ad-4592-b27d-535191bf0bec" providerId="ADAL" clId="{43491469-63E5-4AF4-A451-2151A57B2BCA}" dt="2023-05-23T11:02:56.899" v="35080"/>
          <ac:spMkLst>
            <pc:docMk/>
            <pc:sldMk cId="844873446" sldId="713"/>
            <ac:spMk id="526" creationId="{3CE4D791-2D0E-E9F1-BA66-06A1BF19B740}"/>
          </ac:spMkLst>
        </pc:spChg>
        <pc:spChg chg="add del mod replST">
          <ac:chgData name="Alexandre Mercier" userId="b4fbace6-72ad-4592-b27d-535191bf0bec" providerId="ADAL" clId="{43491469-63E5-4AF4-A451-2151A57B2BCA}" dt="2023-05-23T11:02:56.900" v="35081"/>
          <ac:spMkLst>
            <pc:docMk/>
            <pc:sldMk cId="844873446" sldId="713"/>
            <ac:spMk id="527" creationId="{0ADBDCB4-9CE2-8F96-D496-B2D799F9E55F}"/>
          </ac:spMkLst>
        </pc:spChg>
        <pc:spChg chg="add del mod replST">
          <ac:chgData name="Alexandre Mercier" userId="b4fbace6-72ad-4592-b27d-535191bf0bec" providerId="ADAL" clId="{43491469-63E5-4AF4-A451-2151A57B2BCA}" dt="2023-05-23T11:02:56.900" v="35082"/>
          <ac:spMkLst>
            <pc:docMk/>
            <pc:sldMk cId="844873446" sldId="713"/>
            <ac:spMk id="528" creationId="{70338C54-B7F1-DB9F-6922-2DA6E6065F83}"/>
          </ac:spMkLst>
        </pc:spChg>
        <pc:spChg chg="add del mod replST">
          <ac:chgData name="Alexandre Mercier" userId="b4fbace6-72ad-4592-b27d-535191bf0bec" providerId="ADAL" clId="{43491469-63E5-4AF4-A451-2151A57B2BCA}" dt="2023-05-23T11:02:56.901" v="35083"/>
          <ac:spMkLst>
            <pc:docMk/>
            <pc:sldMk cId="844873446" sldId="713"/>
            <ac:spMk id="529" creationId="{997FC322-44B9-EE73-5A8D-9FDADC4F1B8B}"/>
          </ac:spMkLst>
        </pc:spChg>
        <pc:spChg chg="add del mod replST">
          <ac:chgData name="Alexandre Mercier" userId="b4fbace6-72ad-4592-b27d-535191bf0bec" providerId="ADAL" clId="{43491469-63E5-4AF4-A451-2151A57B2BCA}" dt="2023-05-23T11:02:56.901" v="35084"/>
          <ac:spMkLst>
            <pc:docMk/>
            <pc:sldMk cId="844873446" sldId="713"/>
            <ac:spMk id="530" creationId="{94AF3809-97A0-1B1F-7498-F1ADD0CF64D4}"/>
          </ac:spMkLst>
        </pc:spChg>
        <pc:spChg chg="add del mod replST">
          <ac:chgData name="Alexandre Mercier" userId="b4fbace6-72ad-4592-b27d-535191bf0bec" providerId="ADAL" clId="{43491469-63E5-4AF4-A451-2151A57B2BCA}" dt="2023-05-23T11:02:56.901" v="35085"/>
          <ac:spMkLst>
            <pc:docMk/>
            <pc:sldMk cId="844873446" sldId="713"/>
            <ac:spMk id="531" creationId="{F9B068E5-29EA-4BF2-A71B-5A2C537BBFF3}"/>
          </ac:spMkLst>
        </pc:spChg>
        <pc:spChg chg="add del mod replST">
          <ac:chgData name="Alexandre Mercier" userId="b4fbace6-72ad-4592-b27d-535191bf0bec" providerId="ADAL" clId="{43491469-63E5-4AF4-A451-2151A57B2BCA}" dt="2023-05-23T11:02:56.902" v="35086"/>
          <ac:spMkLst>
            <pc:docMk/>
            <pc:sldMk cId="844873446" sldId="713"/>
            <ac:spMk id="532" creationId="{2E1656FD-47BA-EFF4-D890-76CCD6729368}"/>
          </ac:spMkLst>
        </pc:spChg>
        <pc:spChg chg="add del mod replST">
          <ac:chgData name="Alexandre Mercier" userId="b4fbace6-72ad-4592-b27d-535191bf0bec" providerId="ADAL" clId="{43491469-63E5-4AF4-A451-2151A57B2BCA}" dt="2023-05-23T11:02:56.902" v="35087"/>
          <ac:spMkLst>
            <pc:docMk/>
            <pc:sldMk cId="844873446" sldId="713"/>
            <ac:spMk id="533" creationId="{0F1F32FD-760E-E675-60B8-55CC42F39419}"/>
          </ac:spMkLst>
        </pc:spChg>
        <pc:spChg chg="add del mod replST">
          <ac:chgData name="Alexandre Mercier" userId="b4fbace6-72ad-4592-b27d-535191bf0bec" providerId="ADAL" clId="{43491469-63E5-4AF4-A451-2151A57B2BCA}" dt="2023-05-23T11:02:56.903" v="35088"/>
          <ac:spMkLst>
            <pc:docMk/>
            <pc:sldMk cId="844873446" sldId="713"/>
            <ac:spMk id="534" creationId="{E75CDCFE-8F8B-3692-6D35-88347EB9D9C0}"/>
          </ac:spMkLst>
        </pc:spChg>
        <pc:spChg chg="add del mod replST">
          <ac:chgData name="Alexandre Mercier" userId="b4fbace6-72ad-4592-b27d-535191bf0bec" providerId="ADAL" clId="{43491469-63E5-4AF4-A451-2151A57B2BCA}" dt="2023-05-23T11:02:56.903" v="35089"/>
          <ac:spMkLst>
            <pc:docMk/>
            <pc:sldMk cId="844873446" sldId="713"/>
            <ac:spMk id="535" creationId="{4178212F-DF1D-F3E3-A772-0196E2D0180B}"/>
          </ac:spMkLst>
        </pc:spChg>
        <pc:spChg chg="add del mod replST">
          <ac:chgData name="Alexandre Mercier" userId="b4fbace6-72ad-4592-b27d-535191bf0bec" providerId="ADAL" clId="{43491469-63E5-4AF4-A451-2151A57B2BCA}" dt="2023-05-23T11:02:56.903" v="35090"/>
          <ac:spMkLst>
            <pc:docMk/>
            <pc:sldMk cId="844873446" sldId="713"/>
            <ac:spMk id="536" creationId="{68F7CCB1-19C7-68CE-56CB-8A101189E352}"/>
          </ac:spMkLst>
        </pc:spChg>
        <pc:spChg chg="add del mod replST">
          <ac:chgData name="Alexandre Mercier" userId="b4fbace6-72ad-4592-b27d-535191bf0bec" providerId="ADAL" clId="{43491469-63E5-4AF4-A451-2151A57B2BCA}" dt="2023-05-23T11:02:56.904" v="35091"/>
          <ac:spMkLst>
            <pc:docMk/>
            <pc:sldMk cId="844873446" sldId="713"/>
            <ac:spMk id="537" creationId="{9359BB19-17F3-A7B2-1FA4-E95BCFACBF8A}"/>
          </ac:spMkLst>
        </pc:spChg>
        <pc:spChg chg="add del mod replST">
          <ac:chgData name="Alexandre Mercier" userId="b4fbace6-72ad-4592-b27d-535191bf0bec" providerId="ADAL" clId="{43491469-63E5-4AF4-A451-2151A57B2BCA}" dt="2023-05-23T11:02:56.904" v="35092"/>
          <ac:spMkLst>
            <pc:docMk/>
            <pc:sldMk cId="844873446" sldId="713"/>
            <ac:spMk id="538" creationId="{C6E8FBE3-D5D8-8CB6-33D5-49048FC3F972}"/>
          </ac:spMkLst>
        </pc:spChg>
        <pc:spChg chg="add del mod replST">
          <ac:chgData name="Alexandre Mercier" userId="b4fbace6-72ad-4592-b27d-535191bf0bec" providerId="ADAL" clId="{43491469-63E5-4AF4-A451-2151A57B2BCA}" dt="2023-05-23T11:02:56.905" v="35093"/>
          <ac:spMkLst>
            <pc:docMk/>
            <pc:sldMk cId="844873446" sldId="713"/>
            <ac:spMk id="539" creationId="{6359B0F6-698E-BF49-321D-31A47BC3EF3F}"/>
          </ac:spMkLst>
        </pc:spChg>
        <pc:spChg chg="add del mod replST">
          <ac:chgData name="Alexandre Mercier" userId="b4fbace6-72ad-4592-b27d-535191bf0bec" providerId="ADAL" clId="{43491469-63E5-4AF4-A451-2151A57B2BCA}" dt="2023-05-23T11:02:56.905" v="35094"/>
          <ac:spMkLst>
            <pc:docMk/>
            <pc:sldMk cId="844873446" sldId="713"/>
            <ac:spMk id="540" creationId="{F3A44D2C-6A28-05DD-F599-5F0D41DDA11E}"/>
          </ac:spMkLst>
        </pc:spChg>
        <pc:spChg chg="add del mod replST">
          <ac:chgData name="Alexandre Mercier" userId="b4fbace6-72ad-4592-b27d-535191bf0bec" providerId="ADAL" clId="{43491469-63E5-4AF4-A451-2151A57B2BCA}" dt="2023-05-23T11:02:56.905" v="35095"/>
          <ac:spMkLst>
            <pc:docMk/>
            <pc:sldMk cId="844873446" sldId="713"/>
            <ac:spMk id="541" creationId="{41F25C7E-C3DE-26DF-21D2-4560B6D7F775}"/>
          </ac:spMkLst>
        </pc:spChg>
        <pc:spChg chg="add del mod replST">
          <ac:chgData name="Alexandre Mercier" userId="b4fbace6-72ad-4592-b27d-535191bf0bec" providerId="ADAL" clId="{43491469-63E5-4AF4-A451-2151A57B2BCA}" dt="2023-05-23T11:02:56.906" v="35096"/>
          <ac:spMkLst>
            <pc:docMk/>
            <pc:sldMk cId="844873446" sldId="713"/>
            <ac:spMk id="542" creationId="{8EE54C6C-C165-A9F8-A841-93E222E2A7C0}"/>
          </ac:spMkLst>
        </pc:spChg>
        <pc:spChg chg="add del mod replST">
          <ac:chgData name="Alexandre Mercier" userId="b4fbace6-72ad-4592-b27d-535191bf0bec" providerId="ADAL" clId="{43491469-63E5-4AF4-A451-2151A57B2BCA}" dt="2023-05-23T11:02:56.906" v="35097"/>
          <ac:spMkLst>
            <pc:docMk/>
            <pc:sldMk cId="844873446" sldId="713"/>
            <ac:spMk id="543" creationId="{EC1F699E-65FF-77A4-2315-5CE6173E3DF7}"/>
          </ac:spMkLst>
        </pc:spChg>
        <pc:spChg chg="add del mod replST">
          <ac:chgData name="Alexandre Mercier" userId="b4fbace6-72ad-4592-b27d-535191bf0bec" providerId="ADAL" clId="{43491469-63E5-4AF4-A451-2151A57B2BCA}" dt="2023-05-23T11:02:56.907" v="35098"/>
          <ac:spMkLst>
            <pc:docMk/>
            <pc:sldMk cId="844873446" sldId="713"/>
            <ac:spMk id="544" creationId="{9B67C6B0-D1BC-D175-2A21-49653A1CE6EF}"/>
          </ac:spMkLst>
        </pc:spChg>
        <pc:spChg chg="add del mod replST">
          <ac:chgData name="Alexandre Mercier" userId="b4fbace6-72ad-4592-b27d-535191bf0bec" providerId="ADAL" clId="{43491469-63E5-4AF4-A451-2151A57B2BCA}" dt="2023-05-23T11:02:56.907" v="35099"/>
          <ac:spMkLst>
            <pc:docMk/>
            <pc:sldMk cId="844873446" sldId="713"/>
            <ac:spMk id="545" creationId="{F8058419-855A-92F2-4CEF-E32231A0EEA5}"/>
          </ac:spMkLst>
        </pc:spChg>
        <pc:spChg chg="add del mod replST">
          <ac:chgData name="Alexandre Mercier" userId="b4fbace6-72ad-4592-b27d-535191bf0bec" providerId="ADAL" clId="{43491469-63E5-4AF4-A451-2151A57B2BCA}" dt="2023-05-23T11:02:56.907" v="35100"/>
          <ac:spMkLst>
            <pc:docMk/>
            <pc:sldMk cId="844873446" sldId="713"/>
            <ac:spMk id="546" creationId="{BC0378EB-615D-C0FD-FF56-BD5BDEF57DAF}"/>
          </ac:spMkLst>
        </pc:spChg>
        <pc:spChg chg="add del mod replST">
          <ac:chgData name="Alexandre Mercier" userId="b4fbace6-72ad-4592-b27d-535191bf0bec" providerId="ADAL" clId="{43491469-63E5-4AF4-A451-2151A57B2BCA}" dt="2023-05-23T11:02:56.908" v="35101"/>
          <ac:spMkLst>
            <pc:docMk/>
            <pc:sldMk cId="844873446" sldId="713"/>
            <ac:spMk id="547" creationId="{59CFAE08-DBCD-E957-0A8F-183AEC995834}"/>
          </ac:spMkLst>
        </pc:spChg>
        <pc:spChg chg="add del mod replST">
          <ac:chgData name="Alexandre Mercier" userId="b4fbace6-72ad-4592-b27d-535191bf0bec" providerId="ADAL" clId="{43491469-63E5-4AF4-A451-2151A57B2BCA}" dt="2023-05-23T11:02:56.908" v="35102"/>
          <ac:spMkLst>
            <pc:docMk/>
            <pc:sldMk cId="844873446" sldId="713"/>
            <ac:spMk id="548" creationId="{25168C53-1CC4-A856-21C5-E0F7CF73300C}"/>
          </ac:spMkLst>
        </pc:spChg>
        <pc:spChg chg="add del mod replST">
          <ac:chgData name="Alexandre Mercier" userId="b4fbace6-72ad-4592-b27d-535191bf0bec" providerId="ADAL" clId="{43491469-63E5-4AF4-A451-2151A57B2BCA}" dt="2023-05-23T11:02:56.908" v="35103"/>
          <ac:spMkLst>
            <pc:docMk/>
            <pc:sldMk cId="844873446" sldId="713"/>
            <ac:spMk id="549" creationId="{FF03956C-201D-0E64-5839-BC24CC2C63E6}"/>
          </ac:spMkLst>
        </pc:spChg>
        <pc:spChg chg="add del mod replST">
          <ac:chgData name="Alexandre Mercier" userId="b4fbace6-72ad-4592-b27d-535191bf0bec" providerId="ADAL" clId="{43491469-63E5-4AF4-A451-2151A57B2BCA}" dt="2023-05-23T11:02:56.909" v="35104"/>
          <ac:spMkLst>
            <pc:docMk/>
            <pc:sldMk cId="844873446" sldId="713"/>
            <ac:spMk id="550" creationId="{6E8FCF09-06EE-8648-9B58-D749E46FD4B5}"/>
          </ac:spMkLst>
        </pc:spChg>
        <pc:spChg chg="add del mod replST">
          <ac:chgData name="Alexandre Mercier" userId="b4fbace6-72ad-4592-b27d-535191bf0bec" providerId="ADAL" clId="{43491469-63E5-4AF4-A451-2151A57B2BCA}" dt="2023-05-23T11:02:56.909" v="35105"/>
          <ac:spMkLst>
            <pc:docMk/>
            <pc:sldMk cId="844873446" sldId="713"/>
            <ac:spMk id="551" creationId="{A0723198-9406-D917-112F-CBC3E6B7D4A0}"/>
          </ac:spMkLst>
        </pc:spChg>
        <pc:spChg chg="add del mod replST">
          <ac:chgData name="Alexandre Mercier" userId="b4fbace6-72ad-4592-b27d-535191bf0bec" providerId="ADAL" clId="{43491469-63E5-4AF4-A451-2151A57B2BCA}" dt="2023-05-23T11:02:56.909" v="35106"/>
          <ac:spMkLst>
            <pc:docMk/>
            <pc:sldMk cId="844873446" sldId="713"/>
            <ac:spMk id="552" creationId="{AA777BAA-77C6-0AD8-D899-5E055180E004}"/>
          </ac:spMkLst>
        </pc:spChg>
        <pc:spChg chg="add del mod replST">
          <ac:chgData name="Alexandre Mercier" userId="b4fbace6-72ad-4592-b27d-535191bf0bec" providerId="ADAL" clId="{43491469-63E5-4AF4-A451-2151A57B2BCA}" dt="2023-05-23T11:02:56.910" v="35107"/>
          <ac:spMkLst>
            <pc:docMk/>
            <pc:sldMk cId="844873446" sldId="713"/>
            <ac:spMk id="553" creationId="{E23C0793-633C-B5A7-BF6D-F35F9207A33F}"/>
          </ac:spMkLst>
        </pc:spChg>
        <pc:spChg chg="add del mod replST">
          <ac:chgData name="Alexandre Mercier" userId="b4fbace6-72ad-4592-b27d-535191bf0bec" providerId="ADAL" clId="{43491469-63E5-4AF4-A451-2151A57B2BCA}" dt="2023-05-23T11:02:56.910" v="35108"/>
          <ac:spMkLst>
            <pc:docMk/>
            <pc:sldMk cId="844873446" sldId="713"/>
            <ac:spMk id="554" creationId="{F8EDA82F-5E55-D46B-CADB-B40682EE2120}"/>
          </ac:spMkLst>
        </pc:spChg>
        <pc:spChg chg="add del mod replST">
          <ac:chgData name="Alexandre Mercier" userId="b4fbace6-72ad-4592-b27d-535191bf0bec" providerId="ADAL" clId="{43491469-63E5-4AF4-A451-2151A57B2BCA}" dt="2023-05-23T11:02:56.910" v="35109"/>
          <ac:spMkLst>
            <pc:docMk/>
            <pc:sldMk cId="844873446" sldId="713"/>
            <ac:spMk id="555" creationId="{B35C881C-F70F-AE10-C09C-60B93850573C}"/>
          </ac:spMkLst>
        </pc:spChg>
        <pc:spChg chg="add del mod replST">
          <ac:chgData name="Alexandre Mercier" userId="b4fbace6-72ad-4592-b27d-535191bf0bec" providerId="ADAL" clId="{43491469-63E5-4AF4-A451-2151A57B2BCA}" dt="2023-05-23T11:02:56.911" v="35110"/>
          <ac:spMkLst>
            <pc:docMk/>
            <pc:sldMk cId="844873446" sldId="713"/>
            <ac:spMk id="556" creationId="{7A97C951-DB81-922A-B44A-8C46B9B6F10B}"/>
          </ac:spMkLst>
        </pc:spChg>
        <pc:spChg chg="add del mod replST">
          <ac:chgData name="Alexandre Mercier" userId="b4fbace6-72ad-4592-b27d-535191bf0bec" providerId="ADAL" clId="{43491469-63E5-4AF4-A451-2151A57B2BCA}" dt="2023-05-23T11:02:56.911" v="35111"/>
          <ac:spMkLst>
            <pc:docMk/>
            <pc:sldMk cId="844873446" sldId="713"/>
            <ac:spMk id="557" creationId="{916A701B-8151-B764-B80E-74259A642ED0}"/>
          </ac:spMkLst>
        </pc:spChg>
        <pc:spChg chg="add del mod replST">
          <ac:chgData name="Alexandre Mercier" userId="b4fbace6-72ad-4592-b27d-535191bf0bec" providerId="ADAL" clId="{43491469-63E5-4AF4-A451-2151A57B2BCA}" dt="2023-05-23T11:02:56.911" v="35112"/>
          <ac:spMkLst>
            <pc:docMk/>
            <pc:sldMk cId="844873446" sldId="713"/>
            <ac:spMk id="558" creationId="{9C306119-99EE-67C4-1C30-212D1269FB85}"/>
          </ac:spMkLst>
        </pc:spChg>
        <pc:spChg chg="add del mod replST">
          <ac:chgData name="Alexandre Mercier" userId="b4fbace6-72ad-4592-b27d-535191bf0bec" providerId="ADAL" clId="{43491469-63E5-4AF4-A451-2151A57B2BCA}" dt="2023-05-23T11:02:56.912" v="35113"/>
          <ac:spMkLst>
            <pc:docMk/>
            <pc:sldMk cId="844873446" sldId="713"/>
            <ac:spMk id="559" creationId="{5B4A4FAC-1000-ADA0-FC58-1EB506E83A75}"/>
          </ac:spMkLst>
        </pc:spChg>
        <pc:spChg chg="add del mod replST">
          <ac:chgData name="Alexandre Mercier" userId="b4fbace6-72ad-4592-b27d-535191bf0bec" providerId="ADAL" clId="{43491469-63E5-4AF4-A451-2151A57B2BCA}" dt="2023-05-23T11:02:56.912" v="35114"/>
          <ac:spMkLst>
            <pc:docMk/>
            <pc:sldMk cId="844873446" sldId="713"/>
            <ac:spMk id="560" creationId="{AB86382B-0758-7FE7-F4AC-4ED3C9CAC15F}"/>
          </ac:spMkLst>
        </pc:spChg>
        <pc:spChg chg="add del mod replST">
          <ac:chgData name="Alexandre Mercier" userId="b4fbace6-72ad-4592-b27d-535191bf0bec" providerId="ADAL" clId="{43491469-63E5-4AF4-A451-2151A57B2BCA}" dt="2023-05-23T11:02:56.912" v="35115"/>
          <ac:spMkLst>
            <pc:docMk/>
            <pc:sldMk cId="844873446" sldId="713"/>
            <ac:spMk id="561" creationId="{5C5DCB9C-0247-E799-BA37-70F5556EFA61}"/>
          </ac:spMkLst>
        </pc:spChg>
        <pc:spChg chg="add del mod replST">
          <ac:chgData name="Alexandre Mercier" userId="b4fbace6-72ad-4592-b27d-535191bf0bec" providerId="ADAL" clId="{43491469-63E5-4AF4-A451-2151A57B2BCA}" dt="2023-05-23T11:02:56.913" v="35116"/>
          <ac:spMkLst>
            <pc:docMk/>
            <pc:sldMk cId="844873446" sldId="713"/>
            <ac:spMk id="562" creationId="{5165FDDF-CCE3-1A85-5616-505B464DCF01}"/>
          </ac:spMkLst>
        </pc:spChg>
        <pc:spChg chg="add del mod replST">
          <ac:chgData name="Alexandre Mercier" userId="b4fbace6-72ad-4592-b27d-535191bf0bec" providerId="ADAL" clId="{43491469-63E5-4AF4-A451-2151A57B2BCA}" dt="2023-05-23T11:02:56.914" v="35117"/>
          <ac:spMkLst>
            <pc:docMk/>
            <pc:sldMk cId="844873446" sldId="713"/>
            <ac:spMk id="563" creationId="{99F7E3FD-B76D-5198-2BB3-F9CB5C6350D7}"/>
          </ac:spMkLst>
        </pc:spChg>
        <pc:spChg chg="add del mod replST">
          <ac:chgData name="Alexandre Mercier" userId="b4fbace6-72ad-4592-b27d-535191bf0bec" providerId="ADAL" clId="{43491469-63E5-4AF4-A451-2151A57B2BCA}" dt="2023-05-23T11:02:56.914" v="35118"/>
          <ac:spMkLst>
            <pc:docMk/>
            <pc:sldMk cId="844873446" sldId="713"/>
            <ac:spMk id="564" creationId="{9053A127-61D1-4883-592F-02FE8D122FED}"/>
          </ac:spMkLst>
        </pc:spChg>
        <pc:spChg chg="add del mod replST">
          <ac:chgData name="Alexandre Mercier" userId="b4fbace6-72ad-4592-b27d-535191bf0bec" providerId="ADAL" clId="{43491469-63E5-4AF4-A451-2151A57B2BCA}" dt="2023-05-23T11:02:56.914" v="35119"/>
          <ac:spMkLst>
            <pc:docMk/>
            <pc:sldMk cId="844873446" sldId="713"/>
            <ac:spMk id="565" creationId="{AF44EA16-1EC3-E269-EF59-7CBB0D2DC601}"/>
          </ac:spMkLst>
        </pc:spChg>
        <pc:spChg chg="add del mod replST">
          <ac:chgData name="Alexandre Mercier" userId="b4fbace6-72ad-4592-b27d-535191bf0bec" providerId="ADAL" clId="{43491469-63E5-4AF4-A451-2151A57B2BCA}" dt="2023-05-23T11:02:56.915" v="35120"/>
          <ac:spMkLst>
            <pc:docMk/>
            <pc:sldMk cId="844873446" sldId="713"/>
            <ac:spMk id="566" creationId="{29D045F1-BE46-93FF-17EF-AFF34D41539C}"/>
          </ac:spMkLst>
        </pc:spChg>
        <pc:spChg chg="add del mod replST">
          <ac:chgData name="Alexandre Mercier" userId="b4fbace6-72ad-4592-b27d-535191bf0bec" providerId="ADAL" clId="{43491469-63E5-4AF4-A451-2151A57B2BCA}" dt="2023-05-23T11:02:56.915" v="35121"/>
          <ac:spMkLst>
            <pc:docMk/>
            <pc:sldMk cId="844873446" sldId="713"/>
            <ac:spMk id="567" creationId="{6681D510-930A-211C-F81B-B334A15BD474}"/>
          </ac:spMkLst>
        </pc:spChg>
        <pc:spChg chg="add del mod replST">
          <ac:chgData name="Alexandre Mercier" userId="b4fbace6-72ad-4592-b27d-535191bf0bec" providerId="ADAL" clId="{43491469-63E5-4AF4-A451-2151A57B2BCA}" dt="2023-05-23T11:02:56.915" v="35122"/>
          <ac:spMkLst>
            <pc:docMk/>
            <pc:sldMk cId="844873446" sldId="713"/>
            <ac:spMk id="568" creationId="{7A2003FC-94B7-22B3-9452-1B6228365ACF}"/>
          </ac:spMkLst>
        </pc:spChg>
        <pc:spChg chg="add del mod replST">
          <ac:chgData name="Alexandre Mercier" userId="b4fbace6-72ad-4592-b27d-535191bf0bec" providerId="ADAL" clId="{43491469-63E5-4AF4-A451-2151A57B2BCA}" dt="2023-05-23T11:02:56.916" v="35123"/>
          <ac:spMkLst>
            <pc:docMk/>
            <pc:sldMk cId="844873446" sldId="713"/>
            <ac:spMk id="569" creationId="{3708F368-8CC0-7D74-94D8-E101CAD07BD4}"/>
          </ac:spMkLst>
        </pc:spChg>
        <pc:spChg chg="add del mod replST">
          <ac:chgData name="Alexandre Mercier" userId="b4fbace6-72ad-4592-b27d-535191bf0bec" providerId="ADAL" clId="{43491469-63E5-4AF4-A451-2151A57B2BCA}" dt="2023-05-23T11:02:56.916" v="35124"/>
          <ac:spMkLst>
            <pc:docMk/>
            <pc:sldMk cId="844873446" sldId="713"/>
            <ac:spMk id="570" creationId="{E106E9FD-CD28-8DD9-1A8E-98BE99310BD6}"/>
          </ac:spMkLst>
        </pc:spChg>
        <pc:spChg chg="add del mod replST">
          <ac:chgData name="Alexandre Mercier" userId="b4fbace6-72ad-4592-b27d-535191bf0bec" providerId="ADAL" clId="{43491469-63E5-4AF4-A451-2151A57B2BCA}" dt="2023-05-23T11:02:56.916" v="35125"/>
          <ac:spMkLst>
            <pc:docMk/>
            <pc:sldMk cId="844873446" sldId="713"/>
            <ac:spMk id="571" creationId="{6A515F86-4D8B-12B6-BEAE-278593400803}"/>
          </ac:spMkLst>
        </pc:spChg>
        <pc:spChg chg="add del mod replST">
          <ac:chgData name="Alexandre Mercier" userId="b4fbace6-72ad-4592-b27d-535191bf0bec" providerId="ADAL" clId="{43491469-63E5-4AF4-A451-2151A57B2BCA}" dt="2023-05-23T11:02:56.917" v="35126"/>
          <ac:spMkLst>
            <pc:docMk/>
            <pc:sldMk cId="844873446" sldId="713"/>
            <ac:spMk id="572" creationId="{07DF4F8E-B779-C8D1-158F-A8DA184F6EDD}"/>
          </ac:spMkLst>
        </pc:spChg>
        <pc:spChg chg="add del mod replST">
          <ac:chgData name="Alexandre Mercier" userId="b4fbace6-72ad-4592-b27d-535191bf0bec" providerId="ADAL" clId="{43491469-63E5-4AF4-A451-2151A57B2BCA}" dt="2023-05-23T11:02:56.917" v="35127"/>
          <ac:spMkLst>
            <pc:docMk/>
            <pc:sldMk cId="844873446" sldId="713"/>
            <ac:spMk id="573" creationId="{3B32D144-58C4-3E04-2F5C-DCED1D69E483}"/>
          </ac:spMkLst>
        </pc:spChg>
        <pc:spChg chg="add del mod replST">
          <ac:chgData name="Alexandre Mercier" userId="b4fbace6-72ad-4592-b27d-535191bf0bec" providerId="ADAL" clId="{43491469-63E5-4AF4-A451-2151A57B2BCA}" dt="2023-05-23T11:02:56.917" v="35128"/>
          <ac:spMkLst>
            <pc:docMk/>
            <pc:sldMk cId="844873446" sldId="713"/>
            <ac:spMk id="574" creationId="{FDD571A8-0469-0EA0-B527-51384C649327}"/>
          </ac:spMkLst>
        </pc:spChg>
        <pc:spChg chg="add del mod replST">
          <ac:chgData name="Alexandre Mercier" userId="b4fbace6-72ad-4592-b27d-535191bf0bec" providerId="ADAL" clId="{43491469-63E5-4AF4-A451-2151A57B2BCA}" dt="2023-05-23T11:02:56.917" v="35129"/>
          <ac:spMkLst>
            <pc:docMk/>
            <pc:sldMk cId="844873446" sldId="713"/>
            <ac:spMk id="575" creationId="{B11A712F-3DAD-9FD9-A6B0-5B7413A5BD72}"/>
          </ac:spMkLst>
        </pc:spChg>
        <pc:spChg chg="add del mod replST">
          <ac:chgData name="Alexandre Mercier" userId="b4fbace6-72ad-4592-b27d-535191bf0bec" providerId="ADAL" clId="{43491469-63E5-4AF4-A451-2151A57B2BCA}" dt="2023-05-23T11:02:56.918" v="35130"/>
          <ac:spMkLst>
            <pc:docMk/>
            <pc:sldMk cId="844873446" sldId="713"/>
            <ac:spMk id="576" creationId="{25040503-8FB7-617F-40D3-691921BD1ED0}"/>
          </ac:spMkLst>
        </pc:spChg>
        <pc:spChg chg="add del mod replST">
          <ac:chgData name="Alexandre Mercier" userId="b4fbace6-72ad-4592-b27d-535191bf0bec" providerId="ADAL" clId="{43491469-63E5-4AF4-A451-2151A57B2BCA}" dt="2023-05-23T11:02:56.918" v="35131"/>
          <ac:spMkLst>
            <pc:docMk/>
            <pc:sldMk cId="844873446" sldId="713"/>
            <ac:spMk id="577" creationId="{0A77F7A2-1F15-6926-57C0-B894DD9BAE44}"/>
          </ac:spMkLst>
        </pc:spChg>
        <pc:spChg chg="add del mod replST">
          <ac:chgData name="Alexandre Mercier" userId="b4fbace6-72ad-4592-b27d-535191bf0bec" providerId="ADAL" clId="{43491469-63E5-4AF4-A451-2151A57B2BCA}" dt="2023-05-23T11:02:56.918" v="35132"/>
          <ac:spMkLst>
            <pc:docMk/>
            <pc:sldMk cId="844873446" sldId="713"/>
            <ac:spMk id="578" creationId="{C3FA3CF0-FA95-393F-7FAA-D99DD0CF9D59}"/>
          </ac:spMkLst>
        </pc:spChg>
        <pc:spChg chg="add del mod replST">
          <ac:chgData name="Alexandre Mercier" userId="b4fbace6-72ad-4592-b27d-535191bf0bec" providerId="ADAL" clId="{43491469-63E5-4AF4-A451-2151A57B2BCA}" dt="2023-05-23T11:02:56.919" v="35133"/>
          <ac:spMkLst>
            <pc:docMk/>
            <pc:sldMk cId="844873446" sldId="713"/>
            <ac:spMk id="579" creationId="{E90609ED-DF41-88C1-6BD7-92313E0F48A3}"/>
          </ac:spMkLst>
        </pc:spChg>
        <pc:spChg chg="add del mod replST">
          <ac:chgData name="Alexandre Mercier" userId="b4fbace6-72ad-4592-b27d-535191bf0bec" providerId="ADAL" clId="{43491469-63E5-4AF4-A451-2151A57B2BCA}" dt="2023-05-23T11:02:56.919" v="35134"/>
          <ac:spMkLst>
            <pc:docMk/>
            <pc:sldMk cId="844873446" sldId="713"/>
            <ac:spMk id="580" creationId="{D3F1500C-8842-DC79-39C7-9CF448647CD3}"/>
          </ac:spMkLst>
        </pc:spChg>
        <pc:spChg chg="add del mod replST">
          <ac:chgData name="Alexandre Mercier" userId="b4fbace6-72ad-4592-b27d-535191bf0bec" providerId="ADAL" clId="{43491469-63E5-4AF4-A451-2151A57B2BCA}" dt="2023-05-23T11:02:56.919" v="35135"/>
          <ac:spMkLst>
            <pc:docMk/>
            <pc:sldMk cId="844873446" sldId="713"/>
            <ac:spMk id="581" creationId="{F2B88904-0A05-586D-B2D0-9FFED0F983F2}"/>
          </ac:spMkLst>
        </pc:spChg>
        <pc:spChg chg="add del mod replST">
          <ac:chgData name="Alexandre Mercier" userId="b4fbace6-72ad-4592-b27d-535191bf0bec" providerId="ADAL" clId="{43491469-63E5-4AF4-A451-2151A57B2BCA}" dt="2023-05-23T11:02:56.920" v="35136"/>
          <ac:spMkLst>
            <pc:docMk/>
            <pc:sldMk cId="844873446" sldId="713"/>
            <ac:spMk id="582" creationId="{71F03279-1906-E245-DBEA-0C5EB23FDA7C}"/>
          </ac:spMkLst>
        </pc:spChg>
        <pc:spChg chg="add del mod replST">
          <ac:chgData name="Alexandre Mercier" userId="b4fbace6-72ad-4592-b27d-535191bf0bec" providerId="ADAL" clId="{43491469-63E5-4AF4-A451-2151A57B2BCA}" dt="2023-05-23T11:02:56.920" v="35137"/>
          <ac:spMkLst>
            <pc:docMk/>
            <pc:sldMk cId="844873446" sldId="713"/>
            <ac:spMk id="583" creationId="{F4E5B21B-CAFB-C957-75EA-4BC3EA67C36B}"/>
          </ac:spMkLst>
        </pc:spChg>
        <pc:spChg chg="add del mod replST">
          <ac:chgData name="Alexandre Mercier" userId="b4fbace6-72ad-4592-b27d-535191bf0bec" providerId="ADAL" clId="{43491469-63E5-4AF4-A451-2151A57B2BCA}" dt="2023-05-23T11:02:56.921" v="35138"/>
          <ac:spMkLst>
            <pc:docMk/>
            <pc:sldMk cId="844873446" sldId="713"/>
            <ac:spMk id="584" creationId="{B96C5892-4B50-493C-B82B-53E3826FA568}"/>
          </ac:spMkLst>
        </pc:spChg>
        <pc:spChg chg="add del mod replST">
          <ac:chgData name="Alexandre Mercier" userId="b4fbace6-72ad-4592-b27d-535191bf0bec" providerId="ADAL" clId="{43491469-63E5-4AF4-A451-2151A57B2BCA}" dt="2023-05-23T11:02:56.921" v="35139"/>
          <ac:spMkLst>
            <pc:docMk/>
            <pc:sldMk cId="844873446" sldId="713"/>
            <ac:spMk id="585" creationId="{83708C67-2B67-B54E-F3A4-52C891D5F794}"/>
          </ac:spMkLst>
        </pc:spChg>
        <pc:spChg chg="add del mod replST">
          <ac:chgData name="Alexandre Mercier" userId="b4fbace6-72ad-4592-b27d-535191bf0bec" providerId="ADAL" clId="{43491469-63E5-4AF4-A451-2151A57B2BCA}" dt="2023-05-23T11:02:56.922" v="35140"/>
          <ac:spMkLst>
            <pc:docMk/>
            <pc:sldMk cId="844873446" sldId="713"/>
            <ac:spMk id="586" creationId="{7596C7BA-F0AE-E770-E052-2A4C9FBE1324}"/>
          </ac:spMkLst>
        </pc:spChg>
        <pc:spChg chg="add del mod replST">
          <ac:chgData name="Alexandre Mercier" userId="b4fbace6-72ad-4592-b27d-535191bf0bec" providerId="ADAL" clId="{43491469-63E5-4AF4-A451-2151A57B2BCA}" dt="2023-05-23T11:02:56.922" v="35141"/>
          <ac:spMkLst>
            <pc:docMk/>
            <pc:sldMk cId="844873446" sldId="713"/>
            <ac:spMk id="587" creationId="{8C2A201C-C76E-B0C6-38A8-EC669E964EAC}"/>
          </ac:spMkLst>
        </pc:spChg>
        <pc:spChg chg="add del mod replST">
          <ac:chgData name="Alexandre Mercier" userId="b4fbace6-72ad-4592-b27d-535191bf0bec" providerId="ADAL" clId="{43491469-63E5-4AF4-A451-2151A57B2BCA}" dt="2023-05-23T11:02:56.922" v="35142"/>
          <ac:spMkLst>
            <pc:docMk/>
            <pc:sldMk cId="844873446" sldId="713"/>
            <ac:spMk id="588" creationId="{23929885-199F-9B85-FF91-6053015A3431}"/>
          </ac:spMkLst>
        </pc:spChg>
        <pc:spChg chg="add del mod replST">
          <ac:chgData name="Alexandre Mercier" userId="b4fbace6-72ad-4592-b27d-535191bf0bec" providerId="ADAL" clId="{43491469-63E5-4AF4-A451-2151A57B2BCA}" dt="2023-05-23T11:02:56.923" v="35143"/>
          <ac:spMkLst>
            <pc:docMk/>
            <pc:sldMk cId="844873446" sldId="713"/>
            <ac:spMk id="589" creationId="{F82C164E-DA65-7F94-A77E-7C0532B58528}"/>
          </ac:spMkLst>
        </pc:spChg>
        <pc:spChg chg="add del mod replST">
          <ac:chgData name="Alexandre Mercier" userId="b4fbace6-72ad-4592-b27d-535191bf0bec" providerId="ADAL" clId="{43491469-63E5-4AF4-A451-2151A57B2BCA}" dt="2023-05-23T11:02:56.923" v="35144"/>
          <ac:spMkLst>
            <pc:docMk/>
            <pc:sldMk cId="844873446" sldId="713"/>
            <ac:spMk id="590" creationId="{21AFD449-6823-61B0-DDBE-C6C2DB511003}"/>
          </ac:spMkLst>
        </pc:spChg>
        <pc:spChg chg="add del mod replST">
          <ac:chgData name="Alexandre Mercier" userId="b4fbace6-72ad-4592-b27d-535191bf0bec" providerId="ADAL" clId="{43491469-63E5-4AF4-A451-2151A57B2BCA}" dt="2023-05-23T11:02:56.923" v="35145"/>
          <ac:spMkLst>
            <pc:docMk/>
            <pc:sldMk cId="844873446" sldId="713"/>
            <ac:spMk id="591" creationId="{0B62B1D5-429A-DF06-1B42-2B7C8718564B}"/>
          </ac:spMkLst>
        </pc:spChg>
        <pc:spChg chg="add del mod replST">
          <ac:chgData name="Alexandre Mercier" userId="b4fbace6-72ad-4592-b27d-535191bf0bec" providerId="ADAL" clId="{43491469-63E5-4AF4-A451-2151A57B2BCA}" dt="2023-05-23T11:02:56.924" v="35146"/>
          <ac:spMkLst>
            <pc:docMk/>
            <pc:sldMk cId="844873446" sldId="713"/>
            <ac:spMk id="592" creationId="{7E3D13E1-E77E-6241-F6DB-0BA81B3E55AC}"/>
          </ac:spMkLst>
        </pc:spChg>
        <pc:spChg chg="add del mod replST">
          <ac:chgData name="Alexandre Mercier" userId="b4fbace6-72ad-4592-b27d-535191bf0bec" providerId="ADAL" clId="{43491469-63E5-4AF4-A451-2151A57B2BCA}" dt="2023-05-23T11:02:56.924" v="35147"/>
          <ac:spMkLst>
            <pc:docMk/>
            <pc:sldMk cId="844873446" sldId="713"/>
            <ac:spMk id="593" creationId="{8165B858-E086-18B1-8CA8-0EB5A5D52C3A}"/>
          </ac:spMkLst>
        </pc:spChg>
        <pc:spChg chg="add del mod replST">
          <ac:chgData name="Alexandre Mercier" userId="b4fbace6-72ad-4592-b27d-535191bf0bec" providerId="ADAL" clId="{43491469-63E5-4AF4-A451-2151A57B2BCA}" dt="2023-05-23T11:02:56.925" v="35148"/>
          <ac:spMkLst>
            <pc:docMk/>
            <pc:sldMk cId="844873446" sldId="713"/>
            <ac:spMk id="594" creationId="{4945B888-79D3-BD3D-6A2C-1BFF6500F575}"/>
          </ac:spMkLst>
        </pc:spChg>
        <pc:spChg chg="add del mod replST">
          <ac:chgData name="Alexandre Mercier" userId="b4fbace6-72ad-4592-b27d-535191bf0bec" providerId="ADAL" clId="{43491469-63E5-4AF4-A451-2151A57B2BCA}" dt="2023-05-23T11:02:56.925" v="35149"/>
          <ac:spMkLst>
            <pc:docMk/>
            <pc:sldMk cId="844873446" sldId="713"/>
            <ac:spMk id="595" creationId="{C0FFF207-102A-F608-4E4F-43A70623A669}"/>
          </ac:spMkLst>
        </pc:spChg>
        <pc:spChg chg="add del mod replST">
          <ac:chgData name="Alexandre Mercier" userId="b4fbace6-72ad-4592-b27d-535191bf0bec" providerId="ADAL" clId="{43491469-63E5-4AF4-A451-2151A57B2BCA}" dt="2023-05-23T11:02:56.926" v="35150"/>
          <ac:spMkLst>
            <pc:docMk/>
            <pc:sldMk cId="844873446" sldId="713"/>
            <ac:spMk id="596" creationId="{A8F5D0E7-B423-7A4F-9968-F158A6AC2CD1}"/>
          </ac:spMkLst>
        </pc:spChg>
        <pc:spChg chg="add del mod replST">
          <ac:chgData name="Alexandre Mercier" userId="b4fbace6-72ad-4592-b27d-535191bf0bec" providerId="ADAL" clId="{43491469-63E5-4AF4-A451-2151A57B2BCA}" dt="2023-05-23T11:02:56.926" v="35151"/>
          <ac:spMkLst>
            <pc:docMk/>
            <pc:sldMk cId="844873446" sldId="713"/>
            <ac:spMk id="597" creationId="{F96664DE-35A5-E26B-C92D-5BE6BCEACCE4}"/>
          </ac:spMkLst>
        </pc:spChg>
        <pc:spChg chg="add del mod replST">
          <ac:chgData name="Alexandre Mercier" userId="b4fbace6-72ad-4592-b27d-535191bf0bec" providerId="ADAL" clId="{43491469-63E5-4AF4-A451-2151A57B2BCA}" dt="2023-05-23T11:02:56.926" v="35152"/>
          <ac:spMkLst>
            <pc:docMk/>
            <pc:sldMk cId="844873446" sldId="713"/>
            <ac:spMk id="598" creationId="{99A64CF5-5565-AF5A-8709-9F2C798CBD5A}"/>
          </ac:spMkLst>
        </pc:spChg>
        <pc:spChg chg="add del mod replST">
          <ac:chgData name="Alexandre Mercier" userId="b4fbace6-72ad-4592-b27d-535191bf0bec" providerId="ADAL" clId="{43491469-63E5-4AF4-A451-2151A57B2BCA}" dt="2023-05-23T11:02:56.927" v="35153"/>
          <ac:spMkLst>
            <pc:docMk/>
            <pc:sldMk cId="844873446" sldId="713"/>
            <ac:spMk id="599" creationId="{B8A0D8C9-2C97-7677-3EA4-CE9F58A2FFE4}"/>
          </ac:spMkLst>
        </pc:spChg>
        <pc:spChg chg="add del mod replST">
          <ac:chgData name="Alexandre Mercier" userId="b4fbace6-72ad-4592-b27d-535191bf0bec" providerId="ADAL" clId="{43491469-63E5-4AF4-A451-2151A57B2BCA}" dt="2023-05-23T11:02:56.927" v="35154"/>
          <ac:spMkLst>
            <pc:docMk/>
            <pc:sldMk cId="844873446" sldId="713"/>
            <ac:spMk id="600" creationId="{45525A55-45B9-D68A-7FA5-7DA14C55DFF3}"/>
          </ac:spMkLst>
        </pc:spChg>
        <pc:spChg chg="add del mod replST">
          <ac:chgData name="Alexandre Mercier" userId="b4fbace6-72ad-4592-b27d-535191bf0bec" providerId="ADAL" clId="{43491469-63E5-4AF4-A451-2151A57B2BCA}" dt="2023-05-23T11:02:56.927" v="35155"/>
          <ac:spMkLst>
            <pc:docMk/>
            <pc:sldMk cId="844873446" sldId="713"/>
            <ac:spMk id="601" creationId="{745EECDA-0E2D-0B9C-01EC-77C3661CC872}"/>
          </ac:spMkLst>
        </pc:spChg>
        <pc:spChg chg="add del mod replST">
          <ac:chgData name="Alexandre Mercier" userId="b4fbace6-72ad-4592-b27d-535191bf0bec" providerId="ADAL" clId="{43491469-63E5-4AF4-A451-2151A57B2BCA}" dt="2023-05-23T11:02:56.928" v="35156"/>
          <ac:spMkLst>
            <pc:docMk/>
            <pc:sldMk cId="844873446" sldId="713"/>
            <ac:spMk id="602" creationId="{A3183B18-B6C5-3DAA-B1BA-AAFB0E647617}"/>
          </ac:spMkLst>
        </pc:spChg>
        <pc:spChg chg="add del mod replST">
          <ac:chgData name="Alexandre Mercier" userId="b4fbace6-72ad-4592-b27d-535191bf0bec" providerId="ADAL" clId="{43491469-63E5-4AF4-A451-2151A57B2BCA}" dt="2023-05-23T11:02:56.928" v="35157"/>
          <ac:spMkLst>
            <pc:docMk/>
            <pc:sldMk cId="844873446" sldId="713"/>
            <ac:spMk id="603" creationId="{093BCB2A-E335-C293-10FB-2521FA5284B6}"/>
          </ac:spMkLst>
        </pc:spChg>
        <pc:spChg chg="add del mod replST">
          <ac:chgData name="Alexandre Mercier" userId="b4fbace6-72ad-4592-b27d-535191bf0bec" providerId="ADAL" clId="{43491469-63E5-4AF4-A451-2151A57B2BCA}" dt="2023-05-23T11:02:56.928" v="35158"/>
          <ac:spMkLst>
            <pc:docMk/>
            <pc:sldMk cId="844873446" sldId="713"/>
            <ac:spMk id="604" creationId="{39996D6B-06AA-2A1E-650B-29BA34CC1ADA}"/>
          </ac:spMkLst>
        </pc:spChg>
        <pc:spChg chg="add del mod replST">
          <ac:chgData name="Alexandre Mercier" userId="b4fbace6-72ad-4592-b27d-535191bf0bec" providerId="ADAL" clId="{43491469-63E5-4AF4-A451-2151A57B2BCA}" dt="2023-05-23T11:02:56.929" v="35159"/>
          <ac:spMkLst>
            <pc:docMk/>
            <pc:sldMk cId="844873446" sldId="713"/>
            <ac:spMk id="605" creationId="{B86D68FA-CBFA-589E-F704-864537EE69DD}"/>
          </ac:spMkLst>
        </pc:spChg>
        <pc:spChg chg="add del mod replST">
          <ac:chgData name="Alexandre Mercier" userId="b4fbace6-72ad-4592-b27d-535191bf0bec" providerId="ADAL" clId="{43491469-63E5-4AF4-A451-2151A57B2BCA}" dt="2023-05-23T11:02:56.929" v="35160"/>
          <ac:spMkLst>
            <pc:docMk/>
            <pc:sldMk cId="844873446" sldId="713"/>
            <ac:spMk id="606" creationId="{3A533910-F006-BFAA-DCEF-24BD78E78A91}"/>
          </ac:spMkLst>
        </pc:spChg>
        <pc:spChg chg="add del mod replST">
          <ac:chgData name="Alexandre Mercier" userId="b4fbace6-72ad-4592-b27d-535191bf0bec" providerId="ADAL" clId="{43491469-63E5-4AF4-A451-2151A57B2BCA}" dt="2023-05-23T11:02:56.929" v="35161"/>
          <ac:spMkLst>
            <pc:docMk/>
            <pc:sldMk cId="844873446" sldId="713"/>
            <ac:spMk id="607" creationId="{53813F4B-34AC-D7A3-FD14-5DC487EA4EC3}"/>
          </ac:spMkLst>
        </pc:spChg>
        <pc:spChg chg="add del mod replST">
          <ac:chgData name="Alexandre Mercier" userId="b4fbace6-72ad-4592-b27d-535191bf0bec" providerId="ADAL" clId="{43491469-63E5-4AF4-A451-2151A57B2BCA}" dt="2023-05-23T11:02:56.930" v="35162"/>
          <ac:spMkLst>
            <pc:docMk/>
            <pc:sldMk cId="844873446" sldId="713"/>
            <ac:spMk id="608" creationId="{0C392D32-CFAA-7DB7-4ABE-B18ECF92AB3B}"/>
          </ac:spMkLst>
        </pc:spChg>
        <pc:spChg chg="add del mod replST">
          <ac:chgData name="Alexandre Mercier" userId="b4fbace6-72ad-4592-b27d-535191bf0bec" providerId="ADAL" clId="{43491469-63E5-4AF4-A451-2151A57B2BCA}" dt="2023-05-23T11:02:56.930" v="35163"/>
          <ac:spMkLst>
            <pc:docMk/>
            <pc:sldMk cId="844873446" sldId="713"/>
            <ac:spMk id="609" creationId="{4E74F285-5228-B430-8553-BB679BF4C3C1}"/>
          </ac:spMkLst>
        </pc:spChg>
        <pc:spChg chg="add del mod replST">
          <ac:chgData name="Alexandre Mercier" userId="b4fbace6-72ad-4592-b27d-535191bf0bec" providerId="ADAL" clId="{43491469-63E5-4AF4-A451-2151A57B2BCA}" dt="2023-05-23T11:02:56.930" v="35164"/>
          <ac:spMkLst>
            <pc:docMk/>
            <pc:sldMk cId="844873446" sldId="713"/>
            <ac:spMk id="610" creationId="{ED1CED09-C6FF-0825-A99D-11AD23EC1409}"/>
          </ac:spMkLst>
        </pc:spChg>
        <pc:spChg chg="add del mod replST">
          <ac:chgData name="Alexandre Mercier" userId="b4fbace6-72ad-4592-b27d-535191bf0bec" providerId="ADAL" clId="{43491469-63E5-4AF4-A451-2151A57B2BCA}" dt="2023-05-23T11:02:56.931" v="35165"/>
          <ac:spMkLst>
            <pc:docMk/>
            <pc:sldMk cId="844873446" sldId="713"/>
            <ac:spMk id="611" creationId="{C7193590-89C1-6402-C8E5-966DD6BEC71C}"/>
          </ac:spMkLst>
        </pc:spChg>
        <pc:spChg chg="add del mod replST">
          <ac:chgData name="Alexandre Mercier" userId="b4fbace6-72ad-4592-b27d-535191bf0bec" providerId="ADAL" clId="{43491469-63E5-4AF4-A451-2151A57B2BCA}" dt="2023-05-23T11:02:56.931" v="35166"/>
          <ac:spMkLst>
            <pc:docMk/>
            <pc:sldMk cId="844873446" sldId="713"/>
            <ac:spMk id="612" creationId="{8E17670E-F5A1-1303-2686-84932EDC9E84}"/>
          </ac:spMkLst>
        </pc:spChg>
        <pc:spChg chg="add del mod replST">
          <ac:chgData name="Alexandre Mercier" userId="b4fbace6-72ad-4592-b27d-535191bf0bec" providerId="ADAL" clId="{43491469-63E5-4AF4-A451-2151A57B2BCA}" dt="2023-05-23T11:02:56.931" v="35167"/>
          <ac:spMkLst>
            <pc:docMk/>
            <pc:sldMk cId="844873446" sldId="713"/>
            <ac:spMk id="613" creationId="{05EC9EC0-2A3A-D842-6E26-A8C46372A4A1}"/>
          </ac:spMkLst>
        </pc:spChg>
        <pc:spChg chg="add del mod replST">
          <ac:chgData name="Alexandre Mercier" userId="b4fbace6-72ad-4592-b27d-535191bf0bec" providerId="ADAL" clId="{43491469-63E5-4AF4-A451-2151A57B2BCA}" dt="2023-05-23T11:02:56.933" v="35168"/>
          <ac:spMkLst>
            <pc:docMk/>
            <pc:sldMk cId="844873446" sldId="713"/>
            <ac:spMk id="614" creationId="{B9692502-AF12-8D09-B0FB-9A0476C5CC92}"/>
          </ac:spMkLst>
        </pc:spChg>
        <pc:spChg chg="add del mod replST">
          <ac:chgData name="Alexandre Mercier" userId="b4fbace6-72ad-4592-b27d-535191bf0bec" providerId="ADAL" clId="{43491469-63E5-4AF4-A451-2151A57B2BCA}" dt="2023-05-23T11:02:56.933" v="35169"/>
          <ac:spMkLst>
            <pc:docMk/>
            <pc:sldMk cId="844873446" sldId="713"/>
            <ac:spMk id="615" creationId="{525C7907-8629-38D3-DACC-F753D622D2F8}"/>
          </ac:spMkLst>
        </pc:spChg>
        <pc:spChg chg="add del mod replST">
          <ac:chgData name="Alexandre Mercier" userId="b4fbace6-72ad-4592-b27d-535191bf0bec" providerId="ADAL" clId="{43491469-63E5-4AF4-A451-2151A57B2BCA}" dt="2023-05-23T11:02:56.933" v="35170"/>
          <ac:spMkLst>
            <pc:docMk/>
            <pc:sldMk cId="844873446" sldId="713"/>
            <ac:spMk id="616" creationId="{EC931B3B-9E2A-DAC4-D02D-7218BE2C9B4C}"/>
          </ac:spMkLst>
        </pc:spChg>
        <pc:spChg chg="add del mod replST">
          <ac:chgData name="Alexandre Mercier" userId="b4fbace6-72ad-4592-b27d-535191bf0bec" providerId="ADAL" clId="{43491469-63E5-4AF4-A451-2151A57B2BCA}" dt="2023-05-23T11:02:56.934" v="35171"/>
          <ac:spMkLst>
            <pc:docMk/>
            <pc:sldMk cId="844873446" sldId="713"/>
            <ac:spMk id="617" creationId="{09C17984-9A78-9D51-EB3C-26D8CAC3A5F2}"/>
          </ac:spMkLst>
        </pc:spChg>
        <pc:spChg chg="add del mod replST">
          <ac:chgData name="Alexandre Mercier" userId="b4fbace6-72ad-4592-b27d-535191bf0bec" providerId="ADAL" clId="{43491469-63E5-4AF4-A451-2151A57B2BCA}" dt="2023-05-23T11:02:56.934" v="35172"/>
          <ac:spMkLst>
            <pc:docMk/>
            <pc:sldMk cId="844873446" sldId="713"/>
            <ac:spMk id="618" creationId="{26F4B8D8-120E-9311-A264-46D79CC87A3B}"/>
          </ac:spMkLst>
        </pc:spChg>
        <pc:spChg chg="add del mod replST">
          <ac:chgData name="Alexandre Mercier" userId="b4fbace6-72ad-4592-b27d-535191bf0bec" providerId="ADAL" clId="{43491469-63E5-4AF4-A451-2151A57B2BCA}" dt="2023-05-23T11:02:56.934" v="35173"/>
          <ac:spMkLst>
            <pc:docMk/>
            <pc:sldMk cId="844873446" sldId="713"/>
            <ac:spMk id="619" creationId="{54F2DBA4-5ED8-54DA-D161-F96C3CC1BCB1}"/>
          </ac:spMkLst>
        </pc:spChg>
        <pc:spChg chg="add del mod replST">
          <ac:chgData name="Alexandre Mercier" userId="b4fbace6-72ad-4592-b27d-535191bf0bec" providerId="ADAL" clId="{43491469-63E5-4AF4-A451-2151A57B2BCA}" dt="2023-05-23T11:03:11.434" v="35680"/>
          <ac:spMkLst>
            <pc:docMk/>
            <pc:sldMk cId="844873446" sldId="713"/>
            <ac:spMk id="623" creationId="{64ED1296-1971-644A-B53E-FC8E3AAAB488}"/>
          </ac:spMkLst>
        </pc:spChg>
        <pc:spChg chg="add del mod modVis">
          <ac:chgData name="Alexandre Mercier" userId="b4fbace6-72ad-4592-b27d-535191bf0bec" providerId="ADAL" clId="{43491469-63E5-4AF4-A451-2151A57B2BCA}" dt="2023-05-23T11:03:07.741" v="35621"/>
          <ac:spMkLst>
            <pc:docMk/>
            <pc:sldMk cId="844873446" sldId="713"/>
            <ac:spMk id="624" creationId="{20A5B83E-28DF-E48F-9522-FEA265A75A60}"/>
          </ac:spMkLst>
        </pc:spChg>
        <pc:spChg chg="add del mod modVis">
          <ac:chgData name="Alexandre Mercier" userId="b4fbace6-72ad-4592-b27d-535191bf0bec" providerId="ADAL" clId="{43491469-63E5-4AF4-A451-2151A57B2BCA}" dt="2023-05-23T11:03:36.211" v="35923"/>
          <ac:spMkLst>
            <pc:docMk/>
            <pc:sldMk cId="844873446" sldId="713"/>
            <ac:spMk id="625" creationId="{975CE686-4750-F90A-5DB5-75D9493C19E7}"/>
          </ac:spMkLst>
        </pc:spChg>
        <pc:spChg chg="add del mod modVis">
          <ac:chgData name="Alexandre Mercier" userId="b4fbace6-72ad-4592-b27d-535191bf0bec" providerId="ADAL" clId="{43491469-63E5-4AF4-A451-2151A57B2BCA}" dt="2023-05-23T11:03:42.197" v="36188"/>
          <ac:spMkLst>
            <pc:docMk/>
            <pc:sldMk cId="844873446" sldId="713"/>
            <ac:spMk id="627" creationId="{A679732E-84E0-B3BC-71E1-118A9ED4F4EF}"/>
          </ac:spMkLst>
        </pc:spChg>
        <pc:spChg chg="add del mod modVis">
          <ac:chgData name="Alexandre Mercier" userId="b4fbace6-72ad-4592-b27d-535191bf0bec" providerId="ADAL" clId="{43491469-63E5-4AF4-A451-2151A57B2BCA}" dt="2023-05-23T11:03:43.565" v="36236"/>
          <ac:spMkLst>
            <pc:docMk/>
            <pc:sldMk cId="844873446" sldId="713"/>
            <ac:spMk id="628" creationId="{F8B84E44-38C4-C96D-31B8-441EB9548F16}"/>
          </ac:spMkLst>
        </pc:spChg>
        <pc:spChg chg="add del mod modVis">
          <ac:chgData name="Alexandre Mercier" userId="b4fbace6-72ad-4592-b27d-535191bf0bec" providerId="ADAL" clId="{43491469-63E5-4AF4-A451-2151A57B2BCA}" dt="2023-05-23T11:03:44.848" v="36287"/>
          <ac:spMkLst>
            <pc:docMk/>
            <pc:sldMk cId="844873446" sldId="713"/>
            <ac:spMk id="629" creationId="{7CDC28DC-689A-D7C1-DE42-EF296A7A517D}"/>
          </ac:spMkLst>
        </pc:spChg>
        <pc:spChg chg="add del mod modVis">
          <ac:chgData name="Alexandre Mercier" userId="b4fbace6-72ad-4592-b27d-535191bf0bec" providerId="ADAL" clId="{43491469-63E5-4AF4-A451-2151A57B2BCA}" dt="2023-05-23T11:03:45.647" v="36333"/>
          <ac:spMkLst>
            <pc:docMk/>
            <pc:sldMk cId="844873446" sldId="713"/>
            <ac:spMk id="630" creationId="{FC4EBA56-6E7A-F54E-72A6-68CED3CFDC8F}"/>
          </ac:spMkLst>
        </pc:spChg>
        <pc:spChg chg="add del mod modVis">
          <ac:chgData name="Alexandre Mercier" userId="b4fbace6-72ad-4592-b27d-535191bf0bec" providerId="ADAL" clId="{43491469-63E5-4AF4-A451-2151A57B2BCA}" dt="2023-05-23T11:03:46.574" v="36381"/>
          <ac:spMkLst>
            <pc:docMk/>
            <pc:sldMk cId="844873446" sldId="713"/>
            <ac:spMk id="631" creationId="{95025AEB-2E04-5C0C-FA51-A62EC32F7474}"/>
          </ac:spMkLst>
        </pc:spChg>
        <pc:spChg chg="add del mod modVis">
          <ac:chgData name="Alexandre Mercier" userId="b4fbace6-72ad-4592-b27d-535191bf0bec" providerId="ADAL" clId="{43491469-63E5-4AF4-A451-2151A57B2BCA}" dt="2023-05-23T11:03:49.562" v="36424"/>
          <ac:spMkLst>
            <pc:docMk/>
            <pc:sldMk cId="844873446" sldId="713"/>
            <ac:spMk id="632" creationId="{1CF2F391-A739-810D-20EA-8B37AD4BBB70}"/>
          </ac:spMkLst>
        </pc:spChg>
        <pc:spChg chg="add del mod modVis">
          <ac:chgData name="Alexandre Mercier" userId="b4fbace6-72ad-4592-b27d-535191bf0bec" providerId="ADAL" clId="{43491469-63E5-4AF4-A451-2151A57B2BCA}" dt="2023-05-23T11:04:07.919" v="36633"/>
          <ac:spMkLst>
            <pc:docMk/>
            <pc:sldMk cId="844873446" sldId="713"/>
            <ac:spMk id="633" creationId="{493B928A-E6D3-0CF2-E386-6168CBBE773C}"/>
          </ac:spMkLst>
        </pc:spChg>
        <pc:spChg chg="add mod ord replST">
          <ac:chgData name="Alexandre Mercier" userId="b4fbace6-72ad-4592-b27d-535191bf0bec" providerId="ADAL" clId="{43491469-63E5-4AF4-A451-2151A57B2BCA}" dt="2023-05-25T09:18:19.035" v="43251"/>
          <ac:spMkLst>
            <pc:docMk/>
            <pc:sldMk cId="844873446" sldId="713"/>
            <ac:spMk id="636" creationId="{3F5FF78C-4363-D4B3-726C-9DCA865F4095}"/>
          </ac:spMkLst>
        </pc:spChg>
        <pc:spChg chg="add mod ord replST">
          <ac:chgData name="Alexandre Mercier" userId="b4fbace6-72ad-4592-b27d-535191bf0bec" providerId="ADAL" clId="{43491469-63E5-4AF4-A451-2151A57B2BCA}" dt="2023-05-25T09:18:44.031" v="43409" actId="948"/>
          <ac:spMkLst>
            <pc:docMk/>
            <pc:sldMk cId="844873446" sldId="713"/>
            <ac:spMk id="637" creationId="{04FA1A18-BC4B-F6CF-F32B-612D74F1F385}"/>
          </ac:spMkLst>
        </pc:spChg>
        <pc:spChg chg="add del mod modVis">
          <ac:chgData name="Alexandre Mercier" userId="b4fbace6-72ad-4592-b27d-535191bf0bec" providerId="ADAL" clId="{43491469-63E5-4AF4-A451-2151A57B2BCA}" dt="2023-05-23T11:06:21.385" v="37685"/>
          <ac:spMkLst>
            <pc:docMk/>
            <pc:sldMk cId="844873446" sldId="713"/>
            <ac:spMk id="638" creationId="{508C4F8A-3943-D099-D8F9-00608D49D174}"/>
          </ac:spMkLst>
        </pc:spChg>
        <pc:spChg chg="add del mod replST">
          <ac:chgData name="Alexandre Mercier" userId="b4fbace6-72ad-4592-b27d-535191bf0bec" providerId="ADAL" clId="{43491469-63E5-4AF4-A451-2151A57B2BCA}" dt="2023-05-23T11:07:41.003" v="37995"/>
          <ac:spMkLst>
            <pc:docMk/>
            <pc:sldMk cId="844873446" sldId="713"/>
            <ac:spMk id="639" creationId="{ACEB6EB9-5F11-C885-7BD5-12878BA56353}"/>
          </ac:spMkLst>
        </pc:spChg>
        <pc:spChg chg="add del mod replST">
          <ac:chgData name="Alexandre Mercier" userId="b4fbace6-72ad-4592-b27d-535191bf0bec" providerId="ADAL" clId="{43491469-63E5-4AF4-A451-2151A57B2BCA}" dt="2023-05-23T11:07:48.734" v="38252"/>
          <ac:spMkLst>
            <pc:docMk/>
            <pc:sldMk cId="844873446" sldId="713"/>
            <ac:spMk id="640" creationId="{860CF3ED-6353-E780-2D0F-9999B4ED912D}"/>
          </ac:spMkLst>
        </pc:spChg>
        <pc:spChg chg="add del mod modVis">
          <ac:chgData name="Alexandre Mercier" userId="b4fbace6-72ad-4592-b27d-535191bf0bec" providerId="ADAL" clId="{43491469-63E5-4AF4-A451-2151A57B2BCA}" dt="2023-05-23T11:07:43.777" v="38223"/>
          <ac:spMkLst>
            <pc:docMk/>
            <pc:sldMk cId="844873446" sldId="713"/>
            <ac:spMk id="641" creationId="{1AD89602-431B-15B6-7D75-A1782067AE39}"/>
          </ac:spMkLst>
        </pc:spChg>
        <pc:spChg chg="add mod ord replST">
          <ac:chgData name="Alexandre Mercier" userId="b4fbace6-72ad-4592-b27d-535191bf0bec" providerId="ADAL" clId="{43491469-63E5-4AF4-A451-2151A57B2BCA}" dt="2023-05-25T09:18:44.031" v="43410" actId="948"/>
          <ac:spMkLst>
            <pc:docMk/>
            <pc:sldMk cId="844873446" sldId="713"/>
            <ac:spMk id="642" creationId="{C97B2712-B305-CE79-884E-8F8EDB81D988}"/>
          </ac:spMkLst>
        </pc:spChg>
        <pc:spChg chg="add del mod modVis">
          <ac:chgData name="Alexandre Mercier" userId="b4fbace6-72ad-4592-b27d-535191bf0bec" providerId="ADAL" clId="{43491469-63E5-4AF4-A451-2151A57B2BCA}" dt="2023-05-23T11:07:55.744" v="38493"/>
          <ac:spMkLst>
            <pc:docMk/>
            <pc:sldMk cId="844873446" sldId="713"/>
            <ac:spMk id="643" creationId="{427FF1B6-E7B0-471E-A705-DC2295D69ACD}"/>
          </ac:spMkLst>
        </pc:spChg>
        <pc:spChg chg="add mod replST">
          <ac:chgData name="Alexandre Mercier" userId="b4fbace6-72ad-4592-b27d-535191bf0bec" providerId="ADAL" clId="{43491469-63E5-4AF4-A451-2151A57B2BCA}" dt="2023-05-25T09:18:10.619" v="43148"/>
          <ac:spMkLst>
            <pc:docMk/>
            <pc:sldMk cId="844873446" sldId="713"/>
            <ac:spMk id="644" creationId="{6C4B979A-E225-C981-E592-30FC29500161}"/>
          </ac:spMkLst>
        </pc:spChg>
        <pc:spChg chg="add del mod modVis">
          <ac:chgData name="Alexandre Mercier" userId="b4fbace6-72ad-4592-b27d-535191bf0bec" providerId="ADAL" clId="{43491469-63E5-4AF4-A451-2151A57B2BCA}" dt="2023-05-23T11:08:04.700" v="38565"/>
          <ac:spMkLst>
            <pc:docMk/>
            <pc:sldMk cId="844873446" sldId="713"/>
            <ac:spMk id="645" creationId="{3CB5E4EA-1533-204C-2A24-07DF48231918}"/>
          </ac:spMkLst>
        </pc:spChg>
        <pc:spChg chg="add del mod modVis">
          <ac:chgData name="Alexandre Mercier" userId="b4fbace6-72ad-4592-b27d-535191bf0bec" providerId="ADAL" clId="{43491469-63E5-4AF4-A451-2151A57B2BCA}" dt="2023-05-23T11:08:09.669" v="38659"/>
          <ac:spMkLst>
            <pc:docMk/>
            <pc:sldMk cId="844873446" sldId="713"/>
            <ac:spMk id="646" creationId="{168C596C-D4B6-0526-95DF-24CDE1C448B5}"/>
          </ac:spMkLst>
        </pc:spChg>
        <pc:spChg chg="add del mod modVis">
          <ac:chgData name="Alexandre Mercier" userId="b4fbace6-72ad-4592-b27d-535191bf0bec" providerId="ADAL" clId="{43491469-63E5-4AF4-A451-2151A57B2BCA}" dt="2023-05-23T11:08:13.404" v="38720"/>
          <ac:spMkLst>
            <pc:docMk/>
            <pc:sldMk cId="844873446" sldId="713"/>
            <ac:spMk id="647" creationId="{E1BAF1BE-E4CC-7156-30AA-E5F350FAD524}"/>
          </ac:spMkLst>
        </pc:spChg>
        <pc:spChg chg="add del mod modVis">
          <ac:chgData name="Alexandre Mercier" userId="b4fbace6-72ad-4592-b27d-535191bf0bec" providerId="ADAL" clId="{43491469-63E5-4AF4-A451-2151A57B2BCA}" dt="2023-05-23T11:08:19.757" v="38936"/>
          <ac:spMkLst>
            <pc:docMk/>
            <pc:sldMk cId="844873446" sldId="713"/>
            <ac:spMk id="648" creationId="{63B80CB9-444B-1D0B-575E-257D0333E307}"/>
          </ac:spMkLst>
        </pc:spChg>
        <pc:spChg chg="add del mod modVis">
          <ac:chgData name="Alexandre Mercier" userId="b4fbace6-72ad-4592-b27d-535191bf0bec" providerId="ADAL" clId="{43491469-63E5-4AF4-A451-2151A57B2BCA}" dt="2023-05-23T11:08:31.273" v="38991"/>
          <ac:spMkLst>
            <pc:docMk/>
            <pc:sldMk cId="844873446" sldId="713"/>
            <ac:spMk id="649" creationId="{9F154B31-A27D-7894-6F32-AC70515C53D8}"/>
          </ac:spMkLst>
        </pc:spChg>
        <pc:spChg chg="add del mod modVis">
          <ac:chgData name="Alexandre Mercier" userId="b4fbace6-72ad-4592-b27d-535191bf0bec" providerId="ADAL" clId="{43491469-63E5-4AF4-A451-2151A57B2BCA}" dt="2023-05-23T11:08:32.093" v="39040"/>
          <ac:spMkLst>
            <pc:docMk/>
            <pc:sldMk cId="844873446" sldId="713"/>
            <ac:spMk id="650" creationId="{60068AF3-1F0E-97C5-8C53-A28D7F2DEE9C}"/>
          </ac:spMkLst>
        </pc:spChg>
        <pc:spChg chg="add del mod ord replST">
          <ac:chgData name="Alexandre Mercier" userId="b4fbace6-72ad-4592-b27d-535191bf0bec" providerId="ADAL" clId="{43491469-63E5-4AF4-A451-2151A57B2BCA}" dt="2023-05-23T11:09:20.764" v="39675"/>
          <ac:spMkLst>
            <pc:docMk/>
            <pc:sldMk cId="844873446" sldId="713"/>
            <ac:spMk id="651" creationId="{C6082D90-86D8-ACE5-9178-2121DD649480}"/>
          </ac:spMkLst>
        </pc:spChg>
        <pc:spChg chg="add del mod modVis">
          <ac:chgData name="Alexandre Mercier" userId="b4fbace6-72ad-4592-b27d-535191bf0bec" providerId="ADAL" clId="{43491469-63E5-4AF4-A451-2151A57B2BCA}" dt="2023-05-23T11:09:05.108" v="39514"/>
          <ac:spMkLst>
            <pc:docMk/>
            <pc:sldMk cId="844873446" sldId="713"/>
            <ac:spMk id="652" creationId="{A9024446-DE84-30A1-66FF-F78C34789F70}"/>
          </ac:spMkLst>
        </pc:spChg>
        <pc:spChg chg="add mod replST">
          <ac:chgData name="Alexandre Mercier" userId="b4fbace6-72ad-4592-b27d-535191bf0bec" providerId="ADAL" clId="{43491469-63E5-4AF4-A451-2151A57B2BCA}" dt="2023-05-25T09:18:10.619" v="43151"/>
          <ac:spMkLst>
            <pc:docMk/>
            <pc:sldMk cId="844873446" sldId="713"/>
            <ac:spMk id="653" creationId="{6D3EF9D5-2E05-1EFD-DA01-5EA8B58851DF}"/>
          </ac:spMkLst>
        </pc:spChg>
        <pc:spChg chg="add del mod modVis">
          <ac:chgData name="Alexandre Mercier" userId="b4fbace6-72ad-4592-b27d-535191bf0bec" providerId="ADAL" clId="{43491469-63E5-4AF4-A451-2151A57B2BCA}" dt="2023-05-23T11:09:08.070" v="39572"/>
          <ac:spMkLst>
            <pc:docMk/>
            <pc:sldMk cId="844873446" sldId="713"/>
            <ac:spMk id="654" creationId="{7EC981D6-6F9C-909C-9448-467B27653E65}"/>
          </ac:spMkLst>
        </pc:spChg>
        <pc:spChg chg="add del mod modVis">
          <ac:chgData name="Alexandre Mercier" userId="b4fbace6-72ad-4592-b27d-535191bf0bec" providerId="ADAL" clId="{43491469-63E5-4AF4-A451-2151A57B2BCA}" dt="2023-05-23T11:09:13.623" v="39634"/>
          <ac:spMkLst>
            <pc:docMk/>
            <pc:sldMk cId="844873446" sldId="713"/>
            <ac:spMk id="655" creationId="{A34FC19F-628E-27BE-058B-E062FE3A9819}"/>
          </ac:spMkLst>
        </pc:spChg>
        <pc:spChg chg="add mod ord replST">
          <ac:chgData name="Alexandre Mercier" userId="b4fbace6-72ad-4592-b27d-535191bf0bec" providerId="ADAL" clId="{43491469-63E5-4AF4-A451-2151A57B2BCA}" dt="2023-05-25T09:18:44.031" v="43411" actId="948"/>
          <ac:spMkLst>
            <pc:docMk/>
            <pc:sldMk cId="844873446" sldId="713"/>
            <ac:spMk id="656" creationId="{C35214B1-A879-2103-E2EB-F988B383E662}"/>
          </ac:spMkLst>
        </pc:spChg>
        <pc:spChg chg="add mod ord replST">
          <ac:chgData name="Alexandre Mercier" userId="b4fbace6-72ad-4592-b27d-535191bf0bec" providerId="ADAL" clId="{43491469-63E5-4AF4-A451-2151A57B2BCA}" dt="2023-05-25T09:18:44.047" v="43413"/>
          <ac:spMkLst>
            <pc:docMk/>
            <pc:sldMk cId="844873446" sldId="713"/>
            <ac:spMk id="657" creationId="{05F26C8F-E2C5-F6D2-E14D-333DB7DB180C}"/>
          </ac:spMkLst>
        </pc:spChg>
        <pc:spChg chg="add del mod modVis">
          <ac:chgData name="Alexandre Mercier" userId="b4fbace6-72ad-4592-b27d-535191bf0bec" providerId="ADAL" clId="{43491469-63E5-4AF4-A451-2151A57B2BCA}" dt="2023-05-25T09:18:41.099" v="43400"/>
          <ac:spMkLst>
            <pc:docMk/>
            <pc:sldMk cId="844873446" sldId="713"/>
            <ac:spMk id="658" creationId="{94BB61E0-ECA3-D4E7-50FA-410A7F503EB5}"/>
          </ac:spMkLst>
        </pc:spChg>
        <pc:spChg chg="add mod">
          <ac:chgData name="Alexandre Mercier" userId="b4fbace6-72ad-4592-b27d-535191bf0bec" providerId="ADAL" clId="{43491469-63E5-4AF4-A451-2151A57B2BCA}" dt="2023-05-25T09:19:48.759" v="43450" actId="207"/>
          <ac:spMkLst>
            <pc:docMk/>
            <pc:sldMk cId="844873446" sldId="713"/>
            <ac:spMk id="659" creationId="{F86E49CA-49DB-614D-B212-075DC712A98A}"/>
          </ac:spMkLst>
        </pc:spChg>
        <pc:graphicFrameChg chg="add mod ord modVis replST">
          <ac:chgData name="Alexandre Mercier" userId="b4fbace6-72ad-4592-b27d-535191bf0bec" providerId="ADAL" clId="{43491469-63E5-4AF4-A451-2151A57B2BCA}" dt="2023-05-25T09:18:44.185" v="43425"/>
          <ac:graphicFrameMkLst>
            <pc:docMk/>
            <pc:sldMk cId="844873446" sldId="713"/>
            <ac:graphicFrameMk id="70" creationId="{56FC6878-C32D-FDE6-2ECE-3B6D3A556F6A}"/>
          </ac:graphicFrameMkLst>
        </pc:graphicFrameChg>
        <pc:picChg chg="del">
          <ac:chgData name="Alexandre Mercier" userId="b4fbace6-72ad-4592-b27d-535191bf0bec" providerId="ADAL" clId="{43491469-63E5-4AF4-A451-2151A57B2BCA}" dt="2023-05-23T10:48:21.939" v="5162" actId="478"/>
          <ac:picMkLst>
            <pc:docMk/>
            <pc:sldMk cId="844873446" sldId="713"/>
            <ac:picMk id="8" creationId="{3082CBF5-4E08-396C-EC08-7CE92746FF81}"/>
          </ac:picMkLst>
        </pc:picChg>
        <pc:cxnChg chg="add del mod ord replST">
          <ac:chgData name="Alexandre Mercier" userId="b4fbace6-72ad-4592-b27d-535191bf0bec" providerId="ADAL" clId="{43491469-63E5-4AF4-A451-2151A57B2BCA}" dt="2023-05-23T10:49:55.317" v="6979"/>
          <ac:cxnSpMkLst>
            <pc:docMk/>
            <pc:sldMk cId="844873446" sldId="713"/>
            <ac:cxnSpMk id="46" creationId="{6A4FB7B5-B01E-FFFA-D94E-06CC018AF123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58"/>
          <ac:cxnSpMkLst>
            <pc:docMk/>
            <pc:sldMk cId="844873446" sldId="713"/>
            <ac:cxnSpMk id="49" creationId="{E53B640F-72D9-F4E0-1B2C-D190A8EB0801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57"/>
          <ac:cxnSpMkLst>
            <pc:docMk/>
            <pc:sldMk cId="844873446" sldId="713"/>
            <ac:cxnSpMk id="50" creationId="{1E24A4DE-F043-9493-4417-3248C2B23E1A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38" v="7014"/>
          <ac:cxnSpMkLst>
            <pc:docMk/>
            <pc:sldMk cId="844873446" sldId="713"/>
            <ac:cxnSpMk id="51" creationId="{F5509F39-2154-5D54-2707-9CB82C56A5F0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37" v="7012"/>
          <ac:cxnSpMkLst>
            <pc:docMk/>
            <pc:sldMk cId="844873446" sldId="713"/>
            <ac:cxnSpMk id="52" creationId="{9DD4E80C-E270-2577-4913-E04BD05DF50C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48" v="7038"/>
          <ac:cxnSpMkLst>
            <pc:docMk/>
            <pc:sldMk cId="844873446" sldId="713"/>
            <ac:cxnSpMk id="53" creationId="{B219EB2A-FFAF-F7B6-426D-427BFFFE2143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48" v="7036"/>
          <ac:cxnSpMkLst>
            <pc:docMk/>
            <pc:sldMk cId="844873446" sldId="713"/>
            <ac:cxnSpMk id="54" creationId="{4F5E7FB3-9C77-C6F8-ADF9-4E1E6718467E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47" v="7034"/>
          <ac:cxnSpMkLst>
            <pc:docMk/>
            <pc:sldMk cId="844873446" sldId="713"/>
            <ac:cxnSpMk id="55" creationId="{23DC0CD0-E206-77A3-FADE-6DE92FCD3AA0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46" v="7032"/>
          <ac:cxnSpMkLst>
            <pc:docMk/>
            <pc:sldMk cId="844873446" sldId="713"/>
            <ac:cxnSpMk id="56" creationId="{CD29684C-3ED0-E7BA-28BB-EE5C40AF5151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45" v="7030"/>
          <ac:cxnSpMkLst>
            <pc:docMk/>
            <pc:sldMk cId="844873446" sldId="713"/>
            <ac:cxnSpMk id="57" creationId="{5B68BFD7-A7BD-8FF9-C63C-444CDDDFCD34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44" v="7028"/>
          <ac:cxnSpMkLst>
            <pc:docMk/>
            <pc:sldMk cId="844873446" sldId="713"/>
            <ac:cxnSpMk id="58" creationId="{7133C304-B82D-6973-2C4C-2670EFDA805E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43" v="7026"/>
          <ac:cxnSpMkLst>
            <pc:docMk/>
            <pc:sldMk cId="844873446" sldId="713"/>
            <ac:cxnSpMk id="59" creationId="{54A488F4-5C69-A97B-157F-F37C5993318A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42" v="7024"/>
          <ac:cxnSpMkLst>
            <pc:docMk/>
            <pc:sldMk cId="844873446" sldId="713"/>
            <ac:cxnSpMk id="60" creationId="{E26D4A76-57AC-99F7-C8BA-05B256CD2CBB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42" v="7022"/>
          <ac:cxnSpMkLst>
            <pc:docMk/>
            <pc:sldMk cId="844873446" sldId="713"/>
            <ac:cxnSpMk id="61" creationId="{9ED256B1-3956-E62A-9E4A-055BD15A028F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41" v="7020"/>
          <ac:cxnSpMkLst>
            <pc:docMk/>
            <pc:sldMk cId="844873446" sldId="713"/>
            <ac:cxnSpMk id="62" creationId="{31241D38-C794-CF8D-5712-0B2A2FAFF94B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39" v="7018"/>
          <ac:cxnSpMkLst>
            <pc:docMk/>
            <pc:sldMk cId="844873446" sldId="713"/>
            <ac:cxnSpMk id="63" creationId="{77DEDC4E-4010-DAF3-C88E-D489FE06A4FE}"/>
          </ac:cxnSpMkLst>
        </pc:cxnChg>
        <pc:cxnChg chg="add del mod ord replST">
          <ac:chgData name="Alexandre Mercier" userId="b4fbace6-72ad-4592-b27d-535191bf0bec" providerId="ADAL" clId="{43491469-63E5-4AF4-A451-2151A57B2BCA}" dt="2023-05-23T10:49:55.339" v="7016"/>
          <ac:cxnSpMkLst>
            <pc:docMk/>
            <pc:sldMk cId="844873446" sldId="713"/>
            <ac:cxnSpMk id="64" creationId="{26893369-BD14-D736-C7CB-05AAFDB204A8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96"/>
          <ac:cxnSpMkLst>
            <pc:docMk/>
            <pc:sldMk cId="844873446" sldId="713"/>
            <ac:cxnSpMk id="65" creationId="{773BF2A6-6E52-CD1D-2C41-5AFDD2A3F2B7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95"/>
          <ac:cxnSpMkLst>
            <pc:docMk/>
            <pc:sldMk cId="844873446" sldId="713"/>
            <ac:cxnSpMk id="66" creationId="{2D8B9360-FD16-36FD-85AA-49151BE828A1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93"/>
          <ac:cxnSpMkLst>
            <pc:docMk/>
            <pc:sldMk cId="844873446" sldId="713"/>
            <ac:cxnSpMk id="67" creationId="{EF196AB4-34E4-FE41-7496-9044AC14BD3A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53"/>
          <ac:cxnSpMkLst>
            <pc:docMk/>
            <pc:sldMk cId="844873446" sldId="713"/>
            <ac:cxnSpMk id="68" creationId="{32B68514-42D7-0E16-0D86-F29A6F824CF0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56"/>
          <ac:cxnSpMkLst>
            <pc:docMk/>
            <pc:sldMk cId="844873446" sldId="713"/>
            <ac:cxnSpMk id="69" creationId="{6852C621-4D83-54F4-7B92-16884BDE30E7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69" v="9038"/>
          <ac:cxnSpMkLst>
            <pc:docMk/>
            <pc:sldMk cId="844873446" sldId="713"/>
            <ac:cxnSpMk id="118" creationId="{330EEF44-322F-E194-8386-0AC9EB848FE2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3" v="9081"/>
          <ac:cxnSpMkLst>
            <pc:docMk/>
            <pc:sldMk cId="844873446" sldId="713"/>
            <ac:cxnSpMk id="121" creationId="{CD3EFC91-F3DA-0C2E-6EA2-C2636D630CB8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2" v="9079"/>
          <ac:cxnSpMkLst>
            <pc:docMk/>
            <pc:sldMk cId="844873446" sldId="713"/>
            <ac:cxnSpMk id="122" creationId="{288172B8-707B-F0BA-AFBB-FFAF52442DDD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1" v="9077"/>
          <ac:cxnSpMkLst>
            <pc:docMk/>
            <pc:sldMk cId="844873446" sldId="713"/>
            <ac:cxnSpMk id="123" creationId="{64CE8D74-8785-FFF4-527E-6A3297A604DE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0" v="9075"/>
          <ac:cxnSpMkLst>
            <pc:docMk/>
            <pc:sldMk cId="844873446" sldId="713"/>
            <ac:cxnSpMk id="124" creationId="{26795FCB-FF95-B87A-2CB6-47E373F6A262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89" v="9073"/>
          <ac:cxnSpMkLst>
            <pc:docMk/>
            <pc:sldMk cId="844873446" sldId="713"/>
            <ac:cxnSpMk id="125" creationId="{716AFA3C-98D7-681A-429B-77B2337204C2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89" v="9071"/>
          <ac:cxnSpMkLst>
            <pc:docMk/>
            <pc:sldMk cId="844873446" sldId="713"/>
            <ac:cxnSpMk id="126" creationId="{422488C5-8165-5268-CCC8-0731BE4247DA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87" v="9069"/>
          <ac:cxnSpMkLst>
            <pc:docMk/>
            <pc:sldMk cId="844873446" sldId="713"/>
            <ac:cxnSpMk id="127" creationId="{EEF4A64E-9748-DECA-1C48-99A1A6A412E7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21" v="9147"/>
          <ac:cxnSpMkLst>
            <pc:docMk/>
            <pc:sldMk cId="844873446" sldId="713"/>
            <ac:cxnSpMk id="128" creationId="{DB8872E4-9C71-715C-7C0E-E4828DB0850D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20" v="9145"/>
          <ac:cxnSpMkLst>
            <pc:docMk/>
            <pc:sldMk cId="844873446" sldId="713"/>
            <ac:cxnSpMk id="129" creationId="{7B352FC3-A4DE-0B27-A060-1036969A0D0A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9" v="9143"/>
          <ac:cxnSpMkLst>
            <pc:docMk/>
            <pc:sldMk cId="844873446" sldId="713"/>
            <ac:cxnSpMk id="130" creationId="{F62AF25D-7D9E-4800-4D37-FCB4791D23AB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8" v="9141"/>
          <ac:cxnSpMkLst>
            <pc:docMk/>
            <pc:sldMk cId="844873446" sldId="713"/>
            <ac:cxnSpMk id="131" creationId="{C23F2B97-3E12-1001-55FD-2FA5AA14A5BF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8" v="9139"/>
          <ac:cxnSpMkLst>
            <pc:docMk/>
            <pc:sldMk cId="844873446" sldId="713"/>
            <ac:cxnSpMk id="132" creationId="{01196198-5073-C9EB-F4BC-4A6BDBEF7259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7" v="9137"/>
          <ac:cxnSpMkLst>
            <pc:docMk/>
            <pc:sldMk cId="844873446" sldId="713"/>
            <ac:cxnSpMk id="133" creationId="{71EFF8FE-7413-2D3C-EDC8-4C34EF770014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6" v="9135"/>
          <ac:cxnSpMkLst>
            <pc:docMk/>
            <pc:sldMk cId="844873446" sldId="713"/>
            <ac:cxnSpMk id="134" creationId="{F78EE9C3-1442-5A04-1F1D-D67458A0EB14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5" v="9133"/>
          <ac:cxnSpMkLst>
            <pc:docMk/>
            <pc:sldMk cId="844873446" sldId="713"/>
            <ac:cxnSpMk id="135" creationId="{4443A990-B277-0EF9-98DB-6A4156BC915D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5" v="9131"/>
          <ac:cxnSpMkLst>
            <pc:docMk/>
            <pc:sldMk cId="844873446" sldId="713"/>
            <ac:cxnSpMk id="136" creationId="{C737FCE4-785A-BF91-C4A1-9DBEE0D7B857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4" v="9129"/>
          <ac:cxnSpMkLst>
            <pc:docMk/>
            <pc:sldMk cId="844873446" sldId="713"/>
            <ac:cxnSpMk id="137" creationId="{8F715E56-208C-7493-F07A-AA57D451E059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3" v="9127"/>
          <ac:cxnSpMkLst>
            <pc:docMk/>
            <pc:sldMk cId="844873446" sldId="713"/>
            <ac:cxnSpMk id="138" creationId="{228D353F-33DE-3F62-EED8-3BB368CD530B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2" v="9125"/>
          <ac:cxnSpMkLst>
            <pc:docMk/>
            <pc:sldMk cId="844873446" sldId="713"/>
            <ac:cxnSpMk id="139" creationId="{0A1FBF42-D009-CEBF-A80F-AFB3980990B7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0" v="9123"/>
          <ac:cxnSpMkLst>
            <pc:docMk/>
            <pc:sldMk cId="844873446" sldId="713"/>
            <ac:cxnSpMk id="140" creationId="{7CAE1FCD-50C8-094C-F254-C2DF20AEE508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10" v="9121"/>
          <ac:cxnSpMkLst>
            <pc:docMk/>
            <pc:sldMk cId="844873446" sldId="713"/>
            <ac:cxnSpMk id="141" creationId="{486525B3-D474-5073-CC00-AFCF54661F60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9" v="9119"/>
          <ac:cxnSpMkLst>
            <pc:docMk/>
            <pc:sldMk cId="844873446" sldId="713"/>
            <ac:cxnSpMk id="142" creationId="{5DF828EC-44C9-F777-0E37-EED3BD533832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9" v="9117"/>
          <ac:cxnSpMkLst>
            <pc:docMk/>
            <pc:sldMk cId="844873446" sldId="713"/>
            <ac:cxnSpMk id="143" creationId="{D175A474-44BF-2E5A-721A-6CF5969665FC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8" v="9115"/>
          <ac:cxnSpMkLst>
            <pc:docMk/>
            <pc:sldMk cId="844873446" sldId="713"/>
            <ac:cxnSpMk id="144" creationId="{59C5112F-FE63-B5F4-C456-4E54EC9A0B43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7" v="9113"/>
          <ac:cxnSpMkLst>
            <pc:docMk/>
            <pc:sldMk cId="844873446" sldId="713"/>
            <ac:cxnSpMk id="145" creationId="{BC2DFCE4-4A6B-0D6A-0C97-76CFA4E0A96A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6" v="9111"/>
          <ac:cxnSpMkLst>
            <pc:docMk/>
            <pc:sldMk cId="844873446" sldId="713"/>
            <ac:cxnSpMk id="146" creationId="{6EFF3CEC-A0EA-F2FB-AE79-3D64182FD875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5" v="9109"/>
          <ac:cxnSpMkLst>
            <pc:docMk/>
            <pc:sldMk cId="844873446" sldId="713"/>
            <ac:cxnSpMk id="147" creationId="{90A70722-C663-B99D-6920-7B75B5B4C0BB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5" v="9107"/>
          <ac:cxnSpMkLst>
            <pc:docMk/>
            <pc:sldMk cId="844873446" sldId="713"/>
            <ac:cxnSpMk id="148" creationId="{FEB59BC0-681F-EEA0-10C2-176C640A189C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4" v="9105"/>
          <ac:cxnSpMkLst>
            <pc:docMk/>
            <pc:sldMk cId="844873446" sldId="713"/>
            <ac:cxnSpMk id="149" creationId="{235E766C-4ABB-D6EE-B714-D1CE650ED936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2" v="9103"/>
          <ac:cxnSpMkLst>
            <pc:docMk/>
            <pc:sldMk cId="844873446" sldId="713"/>
            <ac:cxnSpMk id="150" creationId="{8FF47B63-01AC-2F53-D90D-322F3E1CC66D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2" v="9101"/>
          <ac:cxnSpMkLst>
            <pc:docMk/>
            <pc:sldMk cId="844873446" sldId="713"/>
            <ac:cxnSpMk id="151" creationId="{FBE0840F-E162-73A4-6AE1-4B35EE502367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1" v="9099"/>
          <ac:cxnSpMkLst>
            <pc:docMk/>
            <pc:sldMk cId="844873446" sldId="713"/>
            <ac:cxnSpMk id="152" creationId="{EA24801E-6093-69BA-B5FB-2C18275293C7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900" v="9097"/>
          <ac:cxnSpMkLst>
            <pc:docMk/>
            <pc:sldMk cId="844873446" sldId="713"/>
            <ac:cxnSpMk id="153" creationId="{A8DC1ED2-CDBA-1DBA-4B45-21BF87C42FB7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9" v="9095"/>
          <ac:cxnSpMkLst>
            <pc:docMk/>
            <pc:sldMk cId="844873446" sldId="713"/>
            <ac:cxnSpMk id="154" creationId="{122DF565-70C8-15B4-05E8-1C1A26ED42B4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9" v="9093"/>
          <ac:cxnSpMkLst>
            <pc:docMk/>
            <pc:sldMk cId="844873446" sldId="713"/>
            <ac:cxnSpMk id="155" creationId="{DB43AADA-BC1D-1B80-2E6E-10636D59E84E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7" v="9091"/>
          <ac:cxnSpMkLst>
            <pc:docMk/>
            <pc:sldMk cId="844873446" sldId="713"/>
            <ac:cxnSpMk id="156" creationId="{97B3D68A-6FC4-64E4-B8FF-9EE3A3906084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7" v="9089"/>
          <ac:cxnSpMkLst>
            <pc:docMk/>
            <pc:sldMk cId="844873446" sldId="713"/>
            <ac:cxnSpMk id="157" creationId="{BD616F21-4885-533A-91FF-886BEB7C64C7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6" v="9087"/>
          <ac:cxnSpMkLst>
            <pc:docMk/>
            <pc:sldMk cId="844873446" sldId="713"/>
            <ac:cxnSpMk id="158" creationId="{7C339CD4-AC33-701E-2012-DB7E08E1AE8B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5" v="9085"/>
          <ac:cxnSpMkLst>
            <pc:docMk/>
            <pc:sldMk cId="844873446" sldId="713"/>
            <ac:cxnSpMk id="159" creationId="{3CEB9F9A-9D3E-3F9D-D9A3-C05A8BFEA385}"/>
          </ac:cxnSpMkLst>
        </pc:cxnChg>
        <pc:cxnChg chg="add del mod ord replST">
          <ac:chgData name="Alexandre Mercier" userId="b4fbace6-72ad-4592-b27d-535191bf0bec" providerId="ADAL" clId="{43491469-63E5-4AF4-A451-2151A57B2BCA}" dt="2023-05-23T10:50:13.894" v="9083"/>
          <ac:cxnSpMkLst>
            <pc:docMk/>
            <pc:sldMk cId="844873446" sldId="713"/>
            <ac:cxnSpMk id="160" creationId="{56D35785-EF8A-38DC-4F2D-79D793F2B208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55"/>
          <ac:cxnSpMkLst>
            <pc:docMk/>
            <pc:sldMk cId="844873446" sldId="713"/>
            <ac:cxnSpMk id="205" creationId="{C1A787B8-E57B-8EF1-2BE1-12F9EA73AFB9}"/>
          </ac:cxnSpMkLst>
        </pc:cxnChg>
        <pc:cxnChg chg="add del mod ord replST">
          <ac:chgData name="Alexandre Mercier" userId="b4fbace6-72ad-4592-b27d-535191bf0bec" providerId="ADAL" clId="{43491469-63E5-4AF4-A451-2151A57B2BCA}" dt="2023-05-23T10:53:10.788" v="14514"/>
          <ac:cxnSpMkLst>
            <pc:docMk/>
            <pc:sldMk cId="844873446" sldId="713"/>
            <ac:cxnSpMk id="208" creationId="{CD11D73C-9E62-B707-47DF-BE0766CA6AE2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7" v="43301"/>
          <ac:cxnSpMkLst>
            <pc:docMk/>
            <pc:sldMk cId="844873446" sldId="713"/>
            <ac:cxnSpMk id="209" creationId="{2692D8A7-8FB9-7F1E-1BD9-195495167B0A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7" v="43300"/>
          <ac:cxnSpMkLst>
            <pc:docMk/>
            <pc:sldMk cId="844873446" sldId="713"/>
            <ac:cxnSpMk id="210" creationId="{3EC67027-B86E-B008-9CC4-BE1C57BEAEF6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7" v="43299"/>
          <ac:cxnSpMkLst>
            <pc:docMk/>
            <pc:sldMk cId="844873446" sldId="713"/>
            <ac:cxnSpMk id="211" creationId="{76C6F284-42C3-7667-F6BE-2FC1BEF8F97A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7" v="43298"/>
          <ac:cxnSpMkLst>
            <pc:docMk/>
            <pc:sldMk cId="844873446" sldId="713"/>
            <ac:cxnSpMk id="212" creationId="{4034F1DF-2220-D8DE-3F3A-736E8FB5A63E}"/>
          </ac:cxnSpMkLst>
        </pc:cxnChg>
        <pc:cxnChg chg="add del mod ord replST">
          <ac:chgData name="Alexandre Mercier" userId="b4fbace6-72ad-4592-b27d-535191bf0bec" providerId="ADAL" clId="{43491469-63E5-4AF4-A451-2151A57B2BCA}" dt="2023-05-23T10:57:03.258" v="21849"/>
          <ac:cxnSpMkLst>
            <pc:docMk/>
            <pc:sldMk cId="844873446" sldId="713"/>
            <ac:cxnSpMk id="213" creationId="{CFBFD947-48D3-11FD-58D1-DBDE1CCB643C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7" v="43297"/>
          <ac:cxnSpMkLst>
            <pc:docMk/>
            <pc:sldMk cId="844873446" sldId="713"/>
            <ac:cxnSpMk id="214" creationId="{10281112-688D-F270-93F3-A1FA35850633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84" v="26685"/>
          <ac:cxnSpMkLst>
            <pc:docMk/>
            <pc:sldMk cId="844873446" sldId="713"/>
            <ac:cxnSpMk id="215" creationId="{0C217CAD-BDF8-0DB3-0796-84DE0FEBCD10}"/>
          </ac:cxnSpMkLst>
        </pc:cxnChg>
        <pc:cxnChg chg="add del mod ord replST">
          <ac:chgData name="Alexandre Mercier" userId="b4fbace6-72ad-4592-b27d-535191bf0bec" providerId="ADAL" clId="{43491469-63E5-4AF4-A451-2151A57B2BCA}" dt="2023-05-23T10:53:14.363" v="14817"/>
          <ac:cxnSpMkLst>
            <pc:docMk/>
            <pc:sldMk cId="844873446" sldId="713"/>
            <ac:cxnSpMk id="216" creationId="{40A28294-55C3-DA02-3E2C-031858B92B49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81" v="26679"/>
          <ac:cxnSpMkLst>
            <pc:docMk/>
            <pc:sldMk cId="844873446" sldId="713"/>
            <ac:cxnSpMk id="217" creationId="{565A8AD0-B511-32A9-11B0-2D0C1A10D71E}"/>
          </ac:cxnSpMkLst>
        </pc:cxnChg>
        <pc:cxnChg chg="add del mod ord replST">
          <ac:chgData name="Alexandre Mercier" userId="b4fbace6-72ad-4592-b27d-535191bf0bec" providerId="ADAL" clId="{43491469-63E5-4AF4-A451-2151A57B2BCA}" dt="2023-05-23T10:53:17.289" v="15105"/>
          <ac:cxnSpMkLst>
            <pc:docMk/>
            <pc:sldMk cId="844873446" sldId="713"/>
            <ac:cxnSpMk id="218" creationId="{01B178EA-B665-C9DB-5D0F-AC49665A6150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78" v="26675"/>
          <ac:cxnSpMkLst>
            <pc:docMk/>
            <pc:sldMk cId="844873446" sldId="713"/>
            <ac:cxnSpMk id="219" creationId="{CCF1FF72-9129-CDB8-E90D-9CD83AD496B6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77" v="26673"/>
          <ac:cxnSpMkLst>
            <pc:docMk/>
            <pc:sldMk cId="844873446" sldId="713"/>
            <ac:cxnSpMk id="220" creationId="{EDB7444E-5F4A-DE2A-20C7-0B43D95C246C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75" v="26671"/>
          <ac:cxnSpMkLst>
            <pc:docMk/>
            <pc:sldMk cId="844873446" sldId="713"/>
            <ac:cxnSpMk id="221" creationId="{F9393AB3-52D8-1638-C21A-F781797919FA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74" v="26669"/>
          <ac:cxnSpMkLst>
            <pc:docMk/>
            <pc:sldMk cId="844873446" sldId="713"/>
            <ac:cxnSpMk id="222" creationId="{DD1F94CC-9EEB-2715-F96E-7345C95A4F60}"/>
          </ac:cxnSpMkLst>
        </pc:cxnChg>
        <pc:cxnChg chg="add del mod ord replST">
          <ac:chgData name="Alexandre Mercier" userId="b4fbace6-72ad-4592-b27d-535191bf0bec" providerId="ADAL" clId="{43491469-63E5-4AF4-A451-2151A57B2BCA}" dt="2023-05-23T10:56:56.594" v="21547"/>
          <ac:cxnSpMkLst>
            <pc:docMk/>
            <pc:sldMk cId="844873446" sldId="713"/>
            <ac:cxnSpMk id="223" creationId="{6C13A392-9472-A90B-7943-43B9A55B462D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72" v="26667"/>
          <ac:cxnSpMkLst>
            <pc:docMk/>
            <pc:sldMk cId="844873446" sldId="713"/>
            <ac:cxnSpMk id="224" creationId="{0CDAA7AA-84C7-C5B2-AFE2-B16B15684102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71" v="26665"/>
          <ac:cxnSpMkLst>
            <pc:docMk/>
            <pc:sldMk cId="844873446" sldId="713"/>
            <ac:cxnSpMk id="225" creationId="{FE08F2D2-E0AE-3E9A-B9B0-B82D4666774B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69" v="26663"/>
          <ac:cxnSpMkLst>
            <pc:docMk/>
            <pc:sldMk cId="844873446" sldId="713"/>
            <ac:cxnSpMk id="226" creationId="{CE5EBE54-9A65-BA7F-904F-A7A0C96D2761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68" v="26661"/>
          <ac:cxnSpMkLst>
            <pc:docMk/>
            <pc:sldMk cId="844873446" sldId="713"/>
            <ac:cxnSpMk id="227" creationId="{2F258634-74A4-E141-CA0A-9375203E09DF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65" v="26659"/>
          <ac:cxnSpMkLst>
            <pc:docMk/>
            <pc:sldMk cId="844873446" sldId="713"/>
            <ac:cxnSpMk id="228" creationId="{2282E599-3429-16D3-B196-3665E8BF4540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65" v="26657"/>
          <ac:cxnSpMkLst>
            <pc:docMk/>
            <pc:sldMk cId="844873446" sldId="713"/>
            <ac:cxnSpMk id="229" creationId="{3963A586-C213-C2F9-6185-6435549E598C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63" v="26655"/>
          <ac:cxnSpMkLst>
            <pc:docMk/>
            <pc:sldMk cId="844873446" sldId="713"/>
            <ac:cxnSpMk id="230" creationId="{7513C7EC-184E-89AC-0079-E364F8ECF373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61" v="26653"/>
          <ac:cxnSpMkLst>
            <pc:docMk/>
            <pc:sldMk cId="844873446" sldId="713"/>
            <ac:cxnSpMk id="231" creationId="{A1EE6811-5A6A-6F8E-E363-4D51048D1F55}"/>
          </ac:cxnSpMkLst>
        </pc:cxnChg>
        <pc:cxnChg chg="add del mod ord replST">
          <ac:chgData name="Alexandre Mercier" userId="b4fbace6-72ad-4592-b27d-535191bf0bec" providerId="ADAL" clId="{43491469-63E5-4AF4-A451-2151A57B2BCA}" dt="2023-05-23T10:57:24.786" v="23171"/>
          <ac:cxnSpMkLst>
            <pc:docMk/>
            <pc:sldMk cId="844873446" sldId="713"/>
            <ac:cxnSpMk id="232" creationId="{011EE8D7-0B07-0637-FCE6-E8EC13D3FAD6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59" v="26651"/>
          <ac:cxnSpMkLst>
            <pc:docMk/>
            <pc:sldMk cId="844873446" sldId="713"/>
            <ac:cxnSpMk id="233" creationId="{4B3EE8F0-D4D8-5401-2D42-511D905F74E1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57" v="26649"/>
          <ac:cxnSpMkLst>
            <pc:docMk/>
            <pc:sldMk cId="844873446" sldId="713"/>
            <ac:cxnSpMk id="234" creationId="{1A6C8E3A-4684-D3B6-33A5-F5756E8BE9ED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55" v="26647"/>
          <ac:cxnSpMkLst>
            <pc:docMk/>
            <pc:sldMk cId="844873446" sldId="713"/>
            <ac:cxnSpMk id="235" creationId="{60F25C50-7FB0-5408-66BD-A781A2C821D8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53" v="26645"/>
          <ac:cxnSpMkLst>
            <pc:docMk/>
            <pc:sldMk cId="844873446" sldId="713"/>
            <ac:cxnSpMk id="236" creationId="{5E613881-E923-FF44-5261-FDBC1CA2B3D5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51" v="26643"/>
          <ac:cxnSpMkLst>
            <pc:docMk/>
            <pc:sldMk cId="844873446" sldId="713"/>
            <ac:cxnSpMk id="237" creationId="{94B4C764-3C5D-10F1-07A7-2520C130C008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48" v="26641"/>
          <ac:cxnSpMkLst>
            <pc:docMk/>
            <pc:sldMk cId="844873446" sldId="713"/>
            <ac:cxnSpMk id="238" creationId="{8ECC7EC0-979F-AB83-1057-51F28FB6E7D1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46" v="26639"/>
          <ac:cxnSpMkLst>
            <pc:docMk/>
            <pc:sldMk cId="844873446" sldId="713"/>
            <ac:cxnSpMk id="239" creationId="{35FBAC01-61F8-64A6-B65A-BBEF4F949B45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44" v="26637"/>
          <ac:cxnSpMkLst>
            <pc:docMk/>
            <pc:sldMk cId="844873446" sldId="713"/>
            <ac:cxnSpMk id="240" creationId="{24132514-06B9-6CE0-873C-B3E5F276AF2F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41" v="26635"/>
          <ac:cxnSpMkLst>
            <pc:docMk/>
            <pc:sldMk cId="844873446" sldId="713"/>
            <ac:cxnSpMk id="241" creationId="{5D31B2D1-9177-093F-CED5-58C879B4A4D7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38" v="26633"/>
          <ac:cxnSpMkLst>
            <pc:docMk/>
            <pc:sldMk cId="844873446" sldId="713"/>
            <ac:cxnSpMk id="242" creationId="{2DE6EA21-2A6E-73ED-5D4F-D1C34C83F8D0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34" v="26631"/>
          <ac:cxnSpMkLst>
            <pc:docMk/>
            <pc:sldMk cId="844873446" sldId="713"/>
            <ac:cxnSpMk id="243" creationId="{E74BBBE9-31A7-3F7E-FD4C-84B0FC6838CA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32" v="26629"/>
          <ac:cxnSpMkLst>
            <pc:docMk/>
            <pc:sldMk cId="844873446" sldId="713"/>
            <ac:cxnSpMk id="244" creationId="{08905F90-BBE8-9EEF-A4F9-A086D27EF172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28" v="26627"/>
          <ac:cxnSpMkLst>
            <pc:docMk/>
            <pc:sldMk cId="844873446" sldId="713"/>
            <ac:cxnSpMk id="245" creationId="{CAF876CD-52C4-0BC1-A7EF-DD293BA4C9DE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24" v="26625"/>
          <ac:cxnSpMkLst>
            <pc:docMk/>
            <pc:sldMk cId="844873446" sldId="713"/>
            <ac:cxnSpMk id="246" creationId="{FB26E3D9-C9B3-C145-0C9E-55AD3D5C5E0C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19" v="26623"/>
          <ac:cxnSpMkLst>
            <pc:docMk/>
            <pc:sldMk cId="844873446" sldId="713"/>
            <ac:cxnSpMk id="247" creationId="{41B74D00-F29B-5500-4034-F45B3D1111C2}"/>
          </ac:cxnSpMkLst>
        </pc:cxnChg>
        <pc:cxnChg chg="add del mod ord replST">
          <ac:chgData name="Alexandre Mercier" userId="b4fbace6-72ad-4592-b27d-535191bf0bec" providerId="ADAL" clId="{43491469-63E5-4AF4-A451-2151A57B2BCA}" dt="2023-05-23T10:57:42.800" v="23600"/>
          <ac:cxnSpMkLst>
            <pc:docMk/>
            <pc:sldMk cId="844873446" sldId="713"/>
            <ac:cxnSpMk id="248" creationId="{DDFF4387-2FE1-E836-B89B-6204F1AAD791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83" v="26683"/>
          <ac:cxnSpMkLst>
            <pc:docMk/>
            <pc:sldMk cId="844873446" sldId="713"/>
            <ac:cxnSpMk id="262" creationId="{3E64CEFA-98C6-45ED-F087-54A358FF8A23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7" v="43302"/>
          <ac:cxnSpMkLst>
            <pc:docMk/>
            <pc:sldMk cId="844873446" sldId="713"/>
            <ac:cxnSpMk id="264" creationId="{9E27F87D-70AF-7363-BCD3-E8837EFFB36F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82" v="26681"/>
          <ac:cxnSpMkLst>
            <pc:docMk/>
            <pc:sldMk cId="844873446" sldId="713"/>
            <ac:cxnSpMk id="266" creationId="{758694EE-F1BE-3717-8926-BE4CE5B96E29}"/>
          </ac:cxnSpMkLst>
        </pc:cxnChg>
        <pc:cxnChg chg="add del mod ord replST delST">
          <ac:chgData name="Alexandre Mercier" userId="b4fbace6-72ad-4592-b27d-535191bf0bec" providerId="ADAL" clId="{43491469-63E5-4AF4-A451-2151A57B2BCA}" dt="2023-05-23T10:56:21.917" v="20826"/>
          <ac:cxnSpMkLst>
            <pc:docMk/>
            <pc:sldMk cId="844873446" sldId="713"/>
            <ac:cxnSpMk id="272" creationId="{7934CF1E-2672-5284-D212-96F83D3E40A5}"/>
          </ac:cxnSpMkLst>
        </pc:cxnChg>
        <pc:cxnChg chg="add del mod ord replST delST">
          <ac:chgData name="Alexandre Mercier" userId="b4fbace6-72ad-4592-b27d-535191bf0bec" providerId="ADAL" clId="{43491469-63E5-4AF4-A451-2151A57B2BCA}" dt="2023-05-23T10:56:16.629" v="20047"/>
          <ac:cxnSpMkLst>
            <pc:docMk/>
            <pc:sldMk cId="844873446" sldId="713"/>
            <ac:cxnSpMk id="283" creationId="{0730BA36-F922-1591-A0D7-18FA1C5AFEE0}"/>
          </ac:cxnSpMkLst>
        </pc:cxnChg>
        <pc:cxnChg chg="add del mod ord replST">
          <ac:chgData name="Alexandre Mercier" userId="b4fbace6-72ad-4592-b27d-535191bf0bec" providerId="ADAL" clId="{43491469-63E5-4AF4-A451-2151A57B2BCA}" dt="2023-05-23T10:59:44.180" v="26677"/>
          <ac:cxnSpMkLst>
            <pc:docMk/>
            <pc:sldMk cId="844873446" sldId="713"/>
            <ac:cxnSpMk id="292" creationId="{FD25EC44-3347-CD2A-A871-EF0E168E174A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54"/>
          <ac:cxnSpMkLst>
            <pc:docMk/>
            <pc:sldMk cId="844873446" sldId="713"/>
            <ac:cxnSpMk id="296" creationId="{5F07C662-145C-8D7F-A6D4-41E19DBD6472}"/>
          </ac:cxnSpMkLst>
        </pc:cxnChg>
        <pc:cxnChg chg="add del mod ord replST">
          <ac:chgData name="Alexandre Mercier" userId="b4fbace6-72ad-4592-b27d-535191bf0bec" providerId="ADAL" clId="{43491469-63E5-4AF4-A451-2151A57B2BCA}" dt="2023-05-23T11:04:37.437" v="36886"/>
          <ac:cxnSpMkLst>
            <pc:docMk/>
            <pc:sldMk cId="844873446" sldId="713"/>
            <ac:cxnSpMk id="305" creationId="{D4079D7D-69CD-8A27-2F05-5719D1FDD702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80"/>
          <ac:cxnSpMkLst>
            <pc:docMk/>
            <pc:sldMk cId="844873446" sldId="713"/>
            <ac:cxnSpMk id="342" creationId="{F9786DB5-7401-ABD0-F328-02CC8ACA9290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79"/>
          <ac:cxnSpMkLst>
            <pc:docMk/>
            <pc:sldMk cId="844873446" sldId="713"/>
            <ac:cxnSpMk id="343" creationId="{4E9DC5EA-8D5E-AD1B-106D-FBB50F5F05F5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78"/>
          <ac:cxnSpMkLst>
            <pc:docMk/>
            <pc:sldMk cId="844873446" sldId="713"/>
            <ac:cxnSpMk id="344" creationId="{E18EC2FC-9BAA-BCB8-F187-81636BD9AFC5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77"/>
          <ac:cxnSpMkLst>
            <pc:docMk/>
            <pc:sldMk cId="844873446" sldId="713"/>
            <ac:cxnSpMk id="345" creationId="{4B4EFF98-3260-69F6-C576-F545E21B2997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76"/>
          <ac:cxnSpMkLst>
            <pc:docMk/>
            <pc:sldMk cId="844873446" sldId="713"/>
            <ac:cxnSpMk id="346" creationId="{AB2D15E9-8B16-B77E-3E38-D08B2206914E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91"/>
          <ac:cxnSpMkLst>
            <pc:docMk/>
            <pc:sldMk cId="844873446" sldId="713"/>
            <ac:cxnSpMk id="347" creationId="{A47133AE-0506-8FCA-3E71-45C20C9DA810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74"/>
          <ac:cxnSpMkLst>
            <pc:docMk/>
            <pc:sldMk cId="844873446" sldId="713"/>
            <ac:cxnSpMk id="348" creationId="{8EA8BE6F-F763-69C3-5B86-C414D991CAE6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73"/>
          <ac:cxnSpMkLst>
            <pc:docMk/>
            <pc:sldMk cId="844873446" sldId="713"/>
            <ac:cxnSpMk id="349" creationId="{7467A410-A8B4-2271-1C4B-D6A692055CDD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72"/>
          <ac:cxnSpMkLst>
            <pc:docMk/>
            <pc:sldMk cId="844873446" sldId="713"/>
            <ac:cxnSpMk id="350" creationId="{0F521AE1-0B3D-334F-E35A-26E40C249629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71"/>
          <ac:cxnSpMkLst>
            <pc:docMk/>
            <pc:sldMk cId="844873446" sldId="713"/>
            <ac:cxnSpMk id="351" creationId="{C4ECE146-F0FF-54FC-EC43-617EB236A09C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70"/>
          <ac:cxnSpMkLst>
            <pc:docMk/>
            <pc:sldMk cId="844873446" sldId="713"/>
            <ac:cxnSpMk id="352" creationId="{9A42E5E8-1CAE-CAE3-584E-4F8E2BE9D514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69"/>
          <ac:cxnSpMkLst>
            <pc:docMk/>
            <pc:sldMk cId="844873446" sldId="713"/>
            <ac:cxnSpMk id="353" creationId="{A371B4DC-EEA1-A1B9-EDFA-90BF0E3C0980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68"/>
          <ac:cxnSpMkLst>
            <pc:docMk/>
            <pc:sldMk cId="844873446" sldId="713"/>
            <ac:cxnSpMk id="354" creationId="{1A518C60-15C5-DAD8-183F-6B2EA446E125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67"/>
          <ac:cxnSpMkLst>
            <pc:docMk/>
            <pc:sldMk cId="844873446" sldId="713"/>
            <ac:cxnSpMk id="355" creationId="{240402EE-3B6E-C415-89EF-49DE97B8D553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66"/>
          <ac:cxnSpMkLst>
            <pc:docMk/>
            <pc:sldMk cId="844873446" sldId="713"/>
            <ac:cxnSpMk id="356" creationId="{E91B3B75-672C-1543-1466-06B39EB8F0EE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65"/>
          <ac:cxnSpMkLst>
            <pc:docMk/>
            <pc:sldMk cId="844873446" sldId="713"/>
            <ac:cxnSpMk id="357" creationId="{F4E1E630-416E-0E2B-5BFB-552771916448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64"/>
          <ac:cxnSpMkLst>
            <pc:docMk/>
            <pc:sldMk cId="844873446" sldId="713"/>
            <ac:cxnSpMk id="358" creationId="{885C8741-6260-4327-8D3F-E6FC9E22120D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63"/>
          <ac:cxnSpMkLst>
            <pc:docMk/>
            <pc:sldMk cId="844873446" sldId="713"/>
            <ac:cxnSpMk id="359" creationId="{8CE0D885-0F6E-F98B-A9A1-1086ADFBF4FD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62"/>
          <ac:cxnSpMkLst>
            <pc:docMk/>
            <pc:sldMk cId="844873446" sldId="713"/>
            <ac:cxnSpMk id="360" creationId="{0B8EB0C2-87D1-6B24-F5EC-2CE7622358C3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61"/>
          <ac:cxnSpMkLst>
            <pc:docMk/>
            <pc:sldMk cId="844873446" sldId="713"/>
            <ac:cxnSpMk id="361" creationId="{F1BF6DC0-FF2A-A322-3EF3-B376C93D1A66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60"/>
          <ac:cxnSpMkLst>
            <pc:docMk/>
            <pc:sldMk cId="844873446" sldId="713"/>
            <ac:cxnSpMk id="362" creationId="{D52AA020-3C6C-A7C2-7E12-70F9251D7468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35" v="43259"/>
          <ac:cxnSpMkLst>
            <pc:docMk/>
            <pc:sldMk cId="844873446" sldId="713"/>
            <ac:cxnSpMk id="363" creationId="{9E7BC0B6-11FB-A83E-6425-5FC8BA973A72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92"/>
          <ac:cxnSpMkLst>
            <pc:docMk/>
            <pc:sldMk cId="844873446" sldId="713"/>
            <ac:cxnSpMk id="364" creationId="{3F030F52-42A2-419E-F299-DCF9A876F895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90"/>
          <ac:cxnSpMkLst>
            <pc:docMk/>
            <pc:sldMk cId="844873446" sldId="713"/>
            <ac:cxnSpMk id="365" creationId="{61B46042-2DB9-6F35-370B-F6A6A4C2FA08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89"/>
          <ac:cxnSpMkLst>
            <pc:docMk/>
            <pc:sldMk cId="844873446" sldId="713"/>
            <ac:cxnSpMk id="366" creationId="{100AC1EA-7C8C-1492-1BCF-2966435BC050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88"/>
          <ac:cxnSpMkLst>
            <pc:docMk/>
            <pc:sldMk cId="844873446" sldId="713"/>
            <ac:cxnSpMk id="367" creationId="{0F40FF20-32E5-9E49-8F26-E7F9A5FCEBF5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87"/>
          <ac:cxnSpMkLst>
            <pc:docMk/>
            <pc:sldMk cId="844873446" sldId="713"/>
            <ac:cxnSpMk id="368" creationId="{ABBE8810-29E5-B40D-4EA3-C7BC093A72D0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86"/>
          <ac:cxnSpMkLst>
            <pc:docMk/>
            <pc:sldMk cId="844873446" sldId="713"/>
            <ac:cxnSpMk id="369" creationId="{5B01DF32-FA83-96E9-9B53-4842D8B600F4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85"/>
          <ac:cxnSpMkLst>
            <pc:docMk/>
            <pc:sldMk cId="844873446" sldId="713"/>
            <ac:cxnSpMk id="370" creationId="{E1F39250-49BA-8FCD-387C-DF267B257D7C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84"/>
          <ac:cxnSpMkLst>
            <pc:docMk/>
            <pc:sldMk cId="844873446" sldId="713"/>
            <ac:cxnSpMk id="371" creationId="{FF1B2AB2-C089-E4C0-C91F-F667014D18E0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83"/>
          <ac:cxnSpMkLst>
            <pc:docMk/>
            <pc:sldMk cId="844873446" sldId="713"/>
            <ac:cxnSpMk id="372" creationId="{0A41D184-8A7F-0C51-59A9-56589DB70E95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82"/>
          <ac:cxnSpMkLst>
            <pc:docMk/>
            <pc:sldMk cId="844873446" sldId="713"/>
            <ac:cxnSpMk id="373" creationId="{07F7F615-E28C-9AF4-9D3E-4666F801F982}"/>
          </ac:cxnSpMkLst>
        </pc:cxnChg>
        <pc:cxnChg chg="add del mod ord replST">
          <ac:chgData name="Alexandre Mercier" userId="b4fbace6-72ad-4592-b27d-535191bf0bec" providerId="ADAL" clId="{43491469-63E5-4AF4-A451-2151A57B2BCA}" dt="2023-05-23T11:02:56.944" v="35195"/>
          <ac:cxnSpMkLst>
            <pc:docMk/>
            <pc:sldMk cId="844873446" sldId="713"/>
            <ac:cxnSpMk id="620" creationId="{810CBEF8-EAE3-FFA8-E054-4C07C17007EF}"/>
          </ac:cxnSpMkLst>
        </pc:cxnChg>
        <pc:cxnChg chg="add del mod ord replST">
          <ac:chgData name="Alexandre Mercier" userId="b4fbace6-72ad-4592-b27d-535191bf0bec" providerId="ADAL" clId="{43491469-63E5-4AF4-A451-2151A57B2BCA}" dt="2023-05-23T11:02:56.962" v="35237"/>
          <ac:cxnSpMkLst>
            <pc:docMk/>
            <pc:sldMk cId="844873446" sldId="713"/>
            <ac:cxnSpMk id="621" creationId="{0CE23E4D-ADB8-7726-F4EB-4B7EEC746E86}"/>
          </ac:cxnSpMkLst>
        </pc:cxnChg>
        <pc:cxnChg chg="add del mod ord replST">
          <ac:chgData name="Alexandre Mercier" userId="b4fbace6-72ad-4592-b27d-535191bf0bec" providerId="ADAL" clId="{43491469-63E5-4AF4-A451-2151A57B2BCA}" dt="2023-05-23T11:02:56.977" v="35271"/>
          <ac:cxnSpMkLst>
            <pc:docMk/>
            <pc:sldMk cId="844873446" sldId="713"/>
            <ac:cxnSpMk id="622" creationId="{40A70D4A-3CBB-B04C-BD42-6FDDA7E36A3D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75"/>
          <ac:cxnSpMkLst>
            <pc:docMk/>
            <pc:sldMk cId="844873446" sldId="713"/>
            <ac:cxnSpMk id="626" creationId="{94AE2C79-4CAD-63FD-A82F-0C5E30DB88AB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94"/>
          <ac:cxnSpMkLst>
            <pc:docMk/>
            <pc:sldMk cId="844873446" sldId="713"/>
            <ac:cxnSpMk id="634" creationId="{787E950E-AFA1-E0BF-43F3-6C78784ABF8D}"/>
          </ac:cxnSpMkLst>
        </pc:cxnChg>
        <pc:cxnChg chg="add mod ord replST">
          <ac:chgData name="Alexandre Mercier" userId="b4fbace6-72ad-4592-b27d-535191bf0bec" providerId="ADAL" clId="{43491469-63E5-4AF4-A451-2151A57B2BCA}" dt="2023-05-25T09:18:19.051" v="43281"/>
          <ac:cxnSpMkLst>
            <pc:docMk/>
            <pc:sldMk cId="844873446" sldId="713"/>
            <ac:cxnSpMk id="635" creationId="{CEFB834E-9FC3-4CBE-87FC-FADB12835510}"/>
          </ac:cxnSpMkLst>
        </pc:cxnChg>
      </pc:sldChg>
      <pc:sldChg chg="addSp delSp modSp add mod ord modAnim modNotesTx">
        <pc:chgData name="Alexandre Mercier" userId="b4fbace6-72ad-4592-b27d-535191bf0bec" providerId="ADAL" clId="{43491469-63E5-4AF4-A451-2151A57B2BCA}" dt="2023-05-25T11:37:56.939" v="45651" actId="20577"/>
        <pc:sldMkLst>
          <pc:docMk/>
          <pc:sldMk cId="3453779615" sldId="714"/>
        </pc:sldMkLst>
        <pc:spChg chg="add del mod">
          <ac:chgData name="Alexandre Mercier" userId="b4fbace6-72ad-4592-b27d-535191bf0bec" providerId="ADAL" clId="{43491469-63E5-4AF4-A451-2151A57B2BCA}" dt="2023-05-23T14:11:34.670" v="40199" actId="948"/>
          <ac:spMkLst>
            <pc:docMk/>
            <pc:sldMk cId="3453779615" sldId="714"/>
            <ac:spMk id="2" creationId="{32A92DB8-5530-5193-7884-E06332096CE9}"/>
          </ac:spMkLst>
        </pc:spChg>
        <pc:spChg chg="del">
          <ac:chgData name="Alexandre Mercier" userId="b4fbace6-72ad-4592-b27d-535191bf0bec" providerId="ADAL" clId="{43491469-63E5-4AF4-A451-2151A57B2BCA}" dt="2023-05-23T13:42:41.525" v="39846" actId="478"/>
          <ac:spMkLst>
            <pc:docMk/>
            <pc:sldMk cId="3453779615" sldId="714"/>
            <ac:spMk id="7" creationId="{6994DCB7-D7FF-6B49-53E0-9ADAA292D857}"/>
          </ac:spMkLst>
        </pc:spChg>
        <pc:spChg chg="del">
          <ac:chgData name="Alexandre Mercier" userId="b4fbace6-72ad-4592-b27d-535191bf0bec" providerId="ADAL" clId="{43491469-63E5-4AF4-A451-2151A57B2BCA}" dt="2023-05-23T13:42:41.525" v="39846" actId="478"/>
          <ac:spMkLst>
            <pc:docMk/>
            <pc:sldMk cId="3453779615" sldId="714"/>
            <ac:spMk id="9" creationId="{BC6A39A8-E41B-60D1-174F-6A9A8883372C}"/>
          </ac:spMkLst>
        </pc:spChg>
        <pc:spChg chg="del">
          <ac:chgData name="Alexandre Mercier" userId="b4fbace6-72ad-4592-b27d-535191bf0bec" providerId="ADAL" clId="{43491469-63E5-4AF4-A451-2151A57B2BCA}" dt="2023-05-23T13:42:41.525" v="39846" actId="478"/>
          <ac:spMkLst>
            <pc:docMk/>
            <pc:sldMk cId="3453779615" sldId="714"/>
            <ac:spMk id="10" creationId="{C35E6CC6-6BAD-4A4E-3E98-58409E78484E}"/>
          </ac:spMkLst>
        </pc:spChg>
        <pc:spChg chg="add del mod">
          <ac:chgData name="Alexandre Mercier" userId="b4fbace6-72ad-4592-b27d-535191bf0bec" providerId="ADAL" clId="{43491469-63E5-4AF4-A451-2151A57B2BCA}" dt="2023-05-23T13:45:53.423" v="39880" actId="478"/>
          <ac:spMkLst>
            <pc:docMk/>
            <pc:sldMk cId="3453779615" sldId="714"/>
            <ac:spMk id="11" creationId="{75AD854F-734E-FB1D-398F-A733790D5B6D}"/>
          </ac:spMkLst>
        </pc:spChg>
        <pc:spChg chg="add del mod">
          <ac:chgData name="Alexandre Mercier" userId="b4fbace6-72ad-4592-b27d-535191bf0bec" providerId="ADAL" clId="{43491469-63E5-4AF4-A451-2151A57B2BCA}" dt="2023-05-23T13:48:06.080" v="39890" actId="478"/>
          <ac:spMkLst>
            <pc:docMk/>
            <pc:sldMk cId="3453779615" sldId="714"/>
            <ac:spMk id="12" creationId="{3B2C9F04-DABF-C994-89BA-B38E2EAED6D0}"/>
          </ac:spMkLst>
        </pc:spChg>
        <pc:spChg chg="mod">
          <ac:chgData name="Alexandre Mercier" userId="b4fbace6-72ad-4592-b27d-535191bf0bec" providerId="ADAL" clId="{43491469-63E5-4AF4-A451-2151A57B2BCA}" dt="2023-05-23T15:10:52.887" v="40762" actId="207"/>
          <ac:spMkLst>
            <pc:docMk/>
            <pc:sldMk cId="3453779615" sldId="714"/>
            <ac:spMk id="14" creationId="{C5CE1C44-924F-75C3-D1F7-751402804A5C}"/>
          </ac:spMkLst>
        </pc:spChg>
        <pc:spChg chg="del">
          <ac:chgData name="Alexandre Mercier" userId="b4fbace6-72ad-4592-b27d-535191bf0bec" providerId="ADAL" clId="{43491469-63E5-4AF4-A451-2151A57B2BCA}" dt="2023-05-23T13:42:38.173" v="39845" actId="478"/>
          <ac:spMkLst>
            <pc:docMk/>
            <pc:sldMk cId="3453779615" sldId="714"/>
            <ac:spMk id="15" creationId="{C06CAB2A-8644-78C7-3047-42CF2E0C6F29}"/>
          </ac:spMkLst>
        </pc:spChg>
        <pc:spChg chg="del">
          <ac:chgData name="Alexandre Mercier" userId="b4fbace6-72ad-4592-b27d-535191bf0bec" providerId="ADAL" clId="{43491469-63E5-4AF4-A451-2151A57B2BCA}" dt="2023-05-23T13:42:41.525" v="39846" actId="478"/>
          <ac:spMkLst>
            <pc:docMk/>
            <pc:sldMk cId="3453779615" sldId="714"/>
            <ac:spMk id="16" creationId="{DA85CD44-1C3A-133D-A818-6C94D24D86A4}"/>
          </ac:spMkLst>
        </pc:spChg>
        <pc:spChg chg="mod">
          <ac:chgData name="Alexandre Mercier" userId="b4fbace6-72ad-4592-b27d-535191bf0bec" providerId="ADAL" clId="{43491469-63E5-4AF4-A451-2151A57B2BCA}" dt="2023-05-23T15:10:52.887" v="40762" actId="207"/>
          <ac:spMkLst>
            <pc:docMk/>
            <pc:sldMk cId="3453779615" sldId="714"/>
            <ac:spMk id="17" creationId="{41D93199-F9DA-5208-0C91-E4360BEB7C6D}"/>
          </ac:spMkLst>
        </pc:spChg>
        <pc:spChg chg="mod">
          <ac:chgData name="Alexandre Mercier" userId="b4fbace6-72ad-4592-b27d-535191bf0bec" providerId="ADAL" clId="{43491469-63E5-4AF4-A451-2151A57B2BCA}" dt="2023-05-23T15:10:52.887" v="40762" actId="207"/>
          <ac:spMkLst>
            <pc:docMk/>
            <pc:sldMk cId="3453779615" sldId="714"/>
            <ac:spMk id="19" creationId="{40A9E457-84FC-BC39-A9FA-4C500CF6A0BA}"/>
          </ac:spMkLst>
        </pc:spChg>
        <pc:spChg chg="mod">
          <ac:chgData name="Alexandre Mercier" userId="b4fbace6-72ad-4592-b27d-535191bf0bec" providerId="ADAL" clId="{43491469-63E5-4AF4-A451-2151A57B2BCA}" dt="2023-05-23T15:10:52.887" v="40762" actId="207"/>
          <ac:spMkLst>
            <pc:docMk/>
            <pc:sldMk cId="3453779615" sldId="714"/>
            <ac:spMk id="21" creationId="{1D5D19D5-B311-80C7-DB9E-FD4205DC257A}"/>
          </ac:spMkLst>
        </pc:spChg>
        <pc:spChg chg="mod">
          <ac:chgData name="Alexandre Mercier" userId="b4fbace6-72ad-4592-b27d-535191bf0bec" providerId="ADAL" clId="{43491469-63E5-4AF4-A451-2151A57B2BCA}" dt="2023-05-23T15:10:52.887" v="40762" actId="207"/>
          <ac:spMkLst>
            <pc:docMk/>
            <pc:sldMk cId="3453779615" sldId="714"/>
            <ac:spMk id="22" creationId="{C88CD253-C4EE-6B82-BE90-241650241B55}"/>
          </ac:spMkLst>
        </pc:spChg>
        <pc:spChg chg="add mod">
          <ac:chgData name="Alexandre Mercier" userId="b4fbace6-72ad-4592-b27d-535191bf0bec" providerId="ADAL" clId="{43491469-63E5-4AF4-A451-2151A57B2BCA}" dt="2023-05-23T14:12:06.573" v="40220" actId="1076"/>
          <ac:spMkLst>
            <pc:docMk/>
            <pc:sldMk cId="3453779615" sldId="714"/>
            <ac:spMk id="23" creationId="{A0E59ADA-822B-B4ED-44DE-97DDC224A772}"/>
          </ac:spMkLst>
        </pc:spChg>
        <pc:spChg chg="add del mod">
          <ac:chgData name="Alexandre Mercier" userId="b4fbace6-72ad-4592-b27d-535191bf0bec" providerId="ADAL" clId="{43491469-63E5-4AF4-A451-2151A57B2BCA}" dt="2023-05-23T13:49:55.490" v="39926" actId="478"/>
          <ac:spMkLst>
            <pc:docMk/>
            <pc:sldMk cId="3453779615" sldId="714"/>
            <ac:spMk id="24" creationId="{2E67A029-930A-E2A9-1A75-B5C24FFB02A7}"/>
          </ac:spMkLst>
        </pc:spChg>
        <pc:spChg chg="add del">
          <ac:chgData name="Alexandre Mercier" userId="b4fbace6-72ad-4592-b27d-535191bf0bec" providerId="ADAL" clId="{43491469-63E5-4AF4-A451-2151A57B2BCA}" dt="2023-05-23T13:51:19.785" v="39933" actId="478"/>
          <ac:spMkLst>
            <pc:docMk/>
            <pc:sldMk cId="3453779615" sldId="714"/>
            <ac:spMk id="31" creationId="{37D845A4-9966-CDBF-0C57-7BD44D0C285E}"/>
          </ac:spMkLst>
        </pc:spChg>
        <pc:spChg chg="add mod">
          <ac:chgData name="Alexandre Mercier" userId="b4fbace6-72ad-4592-b27d-535191bf0bec" providerId="ADAL" clId="{43491469-63E5-4AF4-A451-2151A57B2BCA}" dt="2023-05-23T14:12:06.573" v="40220" actId="1076"/>
          <ac:spMkLst>
            <pc:docMk/>
            <pc:sldMk cId="3453779615" sldId="714"/>
            <ac:spMk id="32" creationId="{2C546F5C-434E-1254-D118-4D396BCD6813}"/>
          </ac:spMkLst>
        </pc:spChg>
        <pc:spChg chg="add mod">
          <ac:chgData name="Alexandre Mercier" userId="b4fbace6-72ad-4592-b27d-535191bf0bec" providerId="ADAL" clId="{43491469-63E5-4AF4-A451-2151A57B2BCA}" dt="2023-05-23T14:12:06.573" v="40220" actId="1076"/>
          <ac:spMkLst>
            <pc:docMk/>
            <pc:sldMk cId="3453779615" sldId="714"/>
            <ac:spMk id="33" creationId="{09504664-D7E0-A01B-309E-185997AAC024}"/>
          </ac:spMkLst>
        </pc:spChg>
        <pc:spChg chg="add del mod">
          <ac:chgData name="Alexandre Mercier" userId="b4fbace6-72ad-4592-b27d-535191bf0bec" providerId="ADAL" clId="{43491469-63E5-4AF4-A451-2151A57B2BCA}" dt="2023-05-23T13:54:39.146" v="39998" actId="478"/>
          <ac:spMkLst>
            <pc:docMk/>
            <pc:sldMk cId="3453779615" sldId="714"/>
            <ac:spMk id="35" creationId="{C85170AD-CB2D-7FD7-3D21-8403088553B1}"/>
          </ac:spMkLst>
        </pc:spChg>
        <pc:spChg chg="mod">
          <ac:chgData name="Alexandre Mercier" userId="b4fbace6-72ad-4592-b27d-535191bf0bec" providerId="ADAL" clId="{43491469-63E5-4AF4-A451-2151A57B2BCA}" dt="2023-05-23T15:09:46.408" v="40631" actId="207"/>
          <ac:spMkLst>
            <pc:docMk/>
            <pc:sldMk cId="3453779615" sldId="714"/>
            <ac:spMk id="37" creationId="{04F1CFEC-C9C3-2F05-A037-069B8952683B}"/>
          </ac:spMkLst>
        </pc:spChg>
        <pc:spChg chg="mod">
          <ac:chgData name="Alexandre Mercier" userId="b4fbace6-72ad-4592-b27d-535191bf0bec" providerId="ADAL" clId="{43491469-63E5-4AF4-A451-2151A57B2BCA}" dt="2023-05-23T15:09:46.408" v="40631" actId="207"/>
          <ac:spMkLst>
            <pc:docMk/>
            <pc:sldMk cId="3453779615" sldId="714"/>
            <ac:spMk id="38" creationId="{D128163D-8D4F-FC63-739F-F7D5BD881579}"/>
          </ac:spMkLst>
        </pc:spChg>
        <pc:spChg chg="mod">
          <ac:chgData name="Alexandre Mercier" userId="b4fbace6-72ad-4592-b27d-535191bf0bec" providerId="ADAL" clId="{43491469-63E5-4AF4-A451-2151A57B2BCA}" dt="2023-05-23T15:09:46.408" v="40631" actId="207"/>
          <ac:spMkLst>
            <pc:docMk/>
            <pc:sldMk cId="3453779615" sldId="714"/>
            <ac:spMk id="39" creationId="{A1C2CD30-07D5-9D8C-9571-668CFB1ED390}"/>
          </ac:spMkLst>
        </pc:spChg>
        <pc:spChg chg="mod">
          <ac:chgData name="Alexandre Mercier" userId="b4fbace6-72ad-4592-b27d-535191bf0bec" providerId="ADAL" clId="{43491469-63E5-4AF4-A451-2151A57B2BCA}" dt="2023-05-23T15:09:46.408" v="40631" actId="207"/>
          <ac:spMkLst>
            <pc:docMk/>
            <pc:sldMk cId="3453779615" sldId="714"/>
            <ac:spMk id="40" creationId="{ED3098D8-54B2-3ADB-99DB-89004E8F3439}"/>
          </ac:spMkLst>
        </pc:spChg>
        <pc:spChg chg="mod">
          <ac:chgData name="Alexandre Mercier" userId="b4fbace6-72ad-4592-b27d-535191bf0bec" providerId="ADAL" clId="{43491469-63E5-4AF4-A451-2151A57B2BCA}" dt="2023-05-23T15:09:46.408" v="40631" actId="207"/>
          <ac:spMkLst>
            <pc:docMk/>
            <pc:sldMk cId="3453779615" sldId="714"/>
            <ac:spMk id="41" creationId="{B8529A6B-B95D-97A2-06A7-841E4BEAD67C}"/>
          </ac:spMkLst>
        </pc:spChg>
        <pc:spChg chg="del">
          <ac:chgData name="Alexandre Mercier" userId="b4fbace6-72ad-4592-b27d-535191bf0bec" providerId="ADAL" clId="{43491469-63E5-4AF4-A451-2151A57B2BCA}" dt="2023-05-23T13:42:41.525" v="39846" actId="478"/>
          <ac:spMkLst>
            <pc:docMk/>
            <pc:sldMk cId="3453779615" sldId="714"/>
            <ac:spMk id="42" creationId="{19C237C8-7E30-C2EB-4D53-D6FEB5094137}"/>
          </ac:spMkLst>
        </pc:spChg>
        <pc:spChg chg="add mod">
          <ac:chgData name="Alexandre Mercier" userId="b4fbace6-72ad-4592-b27d-535191bf0bec" providerId="ADAL" clId="{43491469-63E5-4AF4-A451-2151A57B2BCA}" dt="2023-05-23T14:12:06.573" v="40220" actId="1076"/>
          <ac:spMkLst>
            <pc:docMk/>
            <pc:sldMk cId="3453779615" sldId="714"/>
            <ac:spMk id="43" creationId="{D169B8D2-F061-CB56-F079-043937FE57B6}"/>
          </ac:spMkLst>
        </pc:spChg>
        <pc:spChg chg="add mod">
          <ac:chgData name="Alexandre Mercier" userId="b4fbace6-72ad-4592-b27d-535191bf0bec" providerId="ADAL" clId="{43491469-63E5-4AF4-A451-2151A57B2BCA}" dt="2023-05-23T14:34:49.910" v="40470" actId="1076"/>
          <ac:spMkLst>
            <pc:docMk/>
            <pc:sldMk cId="3453779615" sldId="714"/>
            <ac:spMk id="44" creationId="{869805EB-FD1D-2A26-F45A-2019B89A416C}"/>
          </ac:spMkLst>
        </pc:spChg>
        <pc:spChg chg="add mod">
          <ac:chgData name="Alexandre Mercier" userId="b4fbace6-72ad-4592-b27d-535191bf0bec" providerId="ADAL" clId="{43491469-63E5-4AF4-A451-2151A57B2BCA}" dt="2023-05-23T14:34:57.377" v="40471" actId="1076"/>
          <ac:spMkLst>
            <pc:docMk/>
            <pc:sldMk cId="3453779615" sldId="714"/>
            <ac:spMk id="53" creationId="{1CCD89DC-B87C-DC0E-C44C-92F10355C210}"/>
          </ac:spMkLst>
        </pc:spChg>
        <pc:spChg chg="add mod">
          <ac:chgData name="Alexandre Mercier" userId="b4fbace6-72ad-4592-b27d-535191bf0bec" providerId="ADAL" clId="{43491469-63E5-4AF4-A451-2151A57B2BCA}" dt="2023-05-23T15:10:31.933" v="40709" actId="207"/>
          <ac:spMkLst>
            <pc:docMk/>
            <pc:sldMk cId="3453779615" sldId="714"/>
            <ac:spMk id="54" creationId="{3D0FF543-B490-C729-4DDF-691143FA2A15}"/>
          </ac:spMkLst>
        </pc:spChg>
        <pc:spChg chg="add mod">
          <ac:chgData name="Alexandre Mercier" userId="b4fbace6-72ad-4592-b27d-535191bf0bec" providerId="ADAL" clId="{43491469-63E5-4AF4-A451-2151A57B2BCA}" dt="2023-05-23T14:27:14.779" v="40376" actId="1076"/>
          <ac:spMkLst>
            <pc:docMk/>
            <pc:sldMk cId="3453779615" sldId="714"/>
            <ac:spMk id="55" creationId="{3BC0D2E1-994C-A2B3-0FAD-7899BAB8FDFB}"/>
          </ac:spMkLst>
        </pc:spChg>
        <pc:spChg chg="add mod">
          <ac:chgData name="Alexandre Mercier" userId="b4fbace6-72ad-4592-b27d-535191bf0bec" providerId="ADAL" clId="{43491469-63E5-4AF4-A451-2151A57B2BCA}" dt="2023-05-23T14:27:14.779" v="40376" actId="1076"/>
          <ac:spMkLst>
            <pc:docMk/>
            <pc:sldMk cId="3453779615" sldId="714"/>
            <ac:spMk id="57" creationId="{1D7AC13D-055F-0C02-971C-793BCA5CE832}"/>
          </ac:spMkLst>
        </pc:spChg>
        <pc:spChg chg="add mod">
          <ac:chgData name="Alexandre Mercier" userId="b4fbace6-72ad-4592-b27d-535191bf0bec" providerId="ADAL" clId="{43491469-63E5-4AF4-A451-2151A57B2BCA}" dt="2023-05-23T14:27:14.779" v="40376" actId="1076"/>
          <ac:spMkLst>
            <pc:docMk/>
            <pc:sldMk cId="3453779615" sldId="714"/>
            <ac:spMk id="58" creationId="{A703550A-B774-C89B-BFA5-60DC52EA5C5C}"/>
          </ac:spMkLst>
        </pc:spChg>
        <pc:spChg chg="add mod">
          <ac:chgData name="Alexandre Mercier" userId="b4fbace6-72ad-4592-b27d-535191bf0bec" providerId="ADAL" clId="{43491469-63E5-4AF4-A451-2151A57B2BCA}" dt="2023-05-23T14:27:14.779" v="40376" actId="1076"/>
          <ac:spMkLst>
            <pc:docMk/>
            <pc:sldMk cId="3453779615" sldId="714"/>
            <ac:spMk id="59" creationId="{F595714B-572B-C0A9-64EB-3C7622CD9C99}"/>
          </ac:spMkLst>
        </pc:spChg>
        <pc:spChg chg="add mod">
          <ac:chgData name="Alexandre Mercier" userId="b4fbace6-72ad-4592-b27d-535191bf0bec" providerId="ADAL" clId="{43491469-63E5-4AF4-A451-2151A57B2BCA}" dt="2023-05-23T14:27:14.779" v="40376" actId="1076"/>
          <ac:spMkLst>
            <pc:docMk/>
            <pc:sldMk cId="3453779615" sldId="714"/>
            <ac:spMk id="60" creationId="{299E4834-BA6F-8F50-C3B8-237D8C76D643}"/>
          </ac:spMkLst>
        </pc:spChg>
        <pc:spChg chg="add mod">
          <ac:chgData name="Alexandre Mercier" userId="b4fbace6-72ad-4592-b27d-535191bf0bec" providerId="ADAL" clId="{43491469-63E5-4AF4-A451-2151A57B2BCA}" dt="2023-05-23T14:27:14.779" v="40376" actId="1076"/>
          <ac:spMkLst>
            <pc:docMk/>
            <pc:sldMk cId="3453779615" sldId="714"/>
            <ac:spMk id="61" creationId="{306EE4C0-B76E-7042-F39E-47B462BB9A30}"/>
          </ac:spMkLst>
        </pc:spChg>
        <pc:spChg chg="add mod">
          <ac:chgData name="Alexandre Mercier" userId="b4fbace6-72ad-4592-b27d-535191bf0bec" providerId="ADAL" clId="{43491469-63E5-4AF4-A451-2151A57B2BCA}" dt="2023-05-23T15:09:37.687" v="40630" actId="207"/>
          <ac:spMkLst>
            <pc:docMk/>
            <pc:sldMk cId="3453779615" sldId="714"/>
            <ac:spMk id="75" creationId="{DE96ECB6-7677-3DBD-DDAD-BF71E259136D}"/>
          </ac:spMkLst>
        </pc:spChg>
        <pc:spChg chg="add del mod">
          <ac:chgData name="Alexandre Mercier" userId="b4fbace6-72ad-4592-b27d-535191bf0bec" providerId="ADAL" clId="{43491469-63E5-4AF4-A451-2151A57B2BCA}" dt="2023-05-23T14:26:37.449" v="40371"/>
          <ac:spMkLst>
            <pc:docMk/>
            <pc:sldMk cId="3453779615" sldId="714"/>
            <ac:spMk id="76" creationId="{196A4C70-F71E-867F-095E-9E3776B87B47}"/>
          </ac:spMkLst>
        </pc:spChg>
        <pc:spChg chg="add del mod">
          <ac:chgData name="Alexandre Mercier" userId="b4fbace6-72ad-4592-b27d-535191bf0bec" providerId="ADAL" clId="{43491469-63E5-4AF4-A451-2151A57B2BCA}" dt="2023-05-23T14:26:37.382" v="40370"/>
          <ac:spMkLst>
            <pc:docMk/>
            <pc:sldMk cId="3453779615" sldId="714"/>
            <ac:spMk id="77" creationId="{1ADA58D7-A859-8BA0-2028-70ED6D740D75}"/>
          </ac:spMkLst>
        </pc:spChg>
        <pc:spChg chg="add del mod">
          <ac:chgData name="Alexandre Mercier" userId="b4fbace6-72ad-4592-b27d-535191bf0bec" providerId="ADAL" clId="{43491469-63E5-4AF4-A451-2151A57B2BCA}" dt="2023-05-23T14:26:37.056" v="40369"/>
          <ac:spMkLst>
            <pc:docMk/>
            <pc:sldMk cId="3453779615" sldId="714"/>
            <ac:spMk id="78" creationId="{CB8F976D-BFC5-BEF0-D805-C7487EE4903B}"/>
          </ac:spMkLst>
        </pc:spChg>
        <pc:spChg chg="add del mod">
          <ac:chgData name="Alexandre Mercier" userId="b4fbace6-72ad-4592-b27d-535191bf0bec" providerId="ADAL" clId="{43491469-63E5-4AF4-A451-2151A57B2BCA}" dt="2023-05-23T14:28:17.996" v="40402"/>
          <ac:spMkLst>
            <pc:docMk/>
            <pc:sldMk cId="3453779615" sldId="714"/>
            <ac:spMk id="81" creationId="{6D82032C-D9F9-2DD7-E4DA-B9278409A0F3}"/>
          </ac:spMkLst>
        </pc:spChg>
        <pc:spChg chg="add del mod">
          <ac:chgData name="Alexandre Mercier" userId="b4fbace6-72ad-4592-b27d-535191bf0bec" providerId="ADAL" clId="{43491469-63E5-4AF4-A451-2151A57B2BCA}" dt="2023-05-23T14:28:17.795" v="40401"/>
          <ac:spMkLst>
            <pc:docMk/>
            <pc:sldMk cId="3453779615" sldId="714"/>
            <ac:spMk id="82" creationId="{198E948E-FCD8-2C7B-771F-75E38325AF4C}"/>
          </ac:spMkLst>
        </pc:spChg>
        <pc:spChg chg="add mod">
          <ac:chgData name="Alexandre Mercier" userId="b4fbace6-72ad-4592-b27d-535191bf0bec" providerId="ADAL" clId="{43491469-63E5-4AF4-A451-2151A57B2BCA}" dt="2023-05-23T15:09:37.687" v="40630" actId="207"/>
          <ac:spMkLst>
            <pc:docMk/>
            <pc:sldMk cId="3453779615" sldId="714"/>
            <ac:spMk id="83" creationId="{A2A438CD-B0A2-E39D-5D75-366C9A7A4D8F}"/>
          </ac:spMkLst>
        </pc:spChg>
        <pc:spChg chg="add mod">
          <ac:chgData name="Alexandre Mercier" userId="b4fbace6-72ad-4592-b27d-535191bf0bec" providerId="ADAL" clId="{43491469-63E5-4AF4-A451-2151A57B2BCA}" dt="2023-05-23T15:09:37.687" v="40630" actId="207"/>
          <ac:spMkLst>
            <pc:docMk/>
            <pc:sldMk cId="3453779615" sldId="714"/>
            <ac:spMk id="84" creationId="{354ECDC4-7084-677A-182E-77DE75420E9F}"/>
          </ac:spMkLst>
        </pc:spChg>
        <pc:spChg chg="add mod">
          <ac:chgData name="Alexandre Mercier" userId="b4fbace6-72ad-4592-b27d-535191bf0bec" providerId="ADAL" clId="{43491469-63E5-4AF4-A451-2151A57B2BCA}" dt="2023-05-23T15:09:23.657" v="40629" actId="207"/>
          <ac:spMkLst>
            <pc:docMk/>
            <pc:sldMk cId="3453779615" sldId="714"/>
            <ac:spMk id="85" creationId="{3A69438F-4A2B-C6F3-0D77-A0B4B6E75620}"/>
          </ac:spMkLst>
        </pc:spChg>
        <pc:spChg chg="add mod">
          <ac:chgData name="Alexandre Mercier" userId="b4fbace6-72ad-4592-b27d-535191bf0bec" providerId="ADAL" clId="{43491469-63E5-4AF4-A451-2151A57B2BCA}" dt="2023-05-23T14:30:45.758" v="40441" actId="115"/>
          <ac:spMkLst>
            <pc:docMk/>
            <pc:sldMk cId="3453779615" sldId="714"/>
            <ac:spMk id="100" creationId="{56F72ED1-3030-A420-3564-97BA29FB7978}"/>
          </ac:spMkLst>
        </pc:spChg>
        <pc:spChg chg="add mod">
          <ac:chgData name="Alexandre Mercier" userId="b4fbace6-72ad-4592-b27d-535191bf0bec" providerId="ADAL" clId="{43491469-63E5-4AF4-A451-2151A57B2BCA}" dt="2023-05-23T14:31:22.945" v="40451" actId="14100"/>
          <ac:spMkLst>
            <pc:docMk/>
            <pc:sldMk cId="3453779615" sldId="714"/>
            <ac:spMk id="101" creationId="{BD955F50-9B68-3685-EC33-75771B01BE01}"/>
          </ac:spMkLst>
        </pc:spChg>
        <pc:spChg chg="add mod">
          <ac:chgData name="Alexandre Mercier" userId="b4fbace6-72ad-4592-b27d-535191bf0bec" providerId="ADAL" clId="{43491469-63E5-4AF4-A451-2151A57B2BCA}" dt="2023-05-23T14:32:13.164" v="40466" actId="1076"/>
          <ac:spMkLst>
            <pc:docMk/>
            <pc:sldMk cId="3453779615" sldId="714"/>
            <ac:spMk id="102" creationId="{31BE79E4-88F6-5FCE-36D2-FBF3E5DAFEE1}"/>
          </ac:spMkLst>
        </pc:spChg>
        <pc:grpChg chg="add mod">
          <ac:chgData name="Alexandre Mercier" userId="b4fbace6-72ad-4592-b27d-535191bf0bec" providerId="ADAL" clId="{43491469-63E5-4AF4-A451-2151A57B2BCA}" dt="2023-05-23T15:10:52.887" v="40762" actId="207"/>
          <ac:grpSpMkLst>
            <pc:docMk/>
            <pc:sldMk cId="3453779615" sldId="714"/>
            <ac:grpSpMk id="13" creationId="{B9FC4FEA-EE4B-AFF6-7A13-B25F016CDE73}"/>
          </ac:grpSpMkLst>
        </pc:grpChg>
        <pc:grpChg chg="add mod">
          <ac:chgData name="Alexandre Mercier" userId="b4fbace6-72ad-4592-b27d-535191bf0bec" providerId="ADAL" clId="{43491469-63E5-4AF4-A451-2151A57B2BCA}" dt="2023-05-23T15:09:46.408" v="40631" actId="207"/>
          <ac:grpSpMkLst>
            <pc:docMk/>
            <pc:sldMk cId="3453779615" sldId="714"/>
            <ac:grpSpMk id="36" creationId="{0C144464-3FE9-CDF0-9764-EA311B59BF80}"/>
          </ac:grpSpMkLst>
        </pc:grpChg>
        <pc:graphicFrameChg chg="add del mod">
          <ac:chgData name="Alexandre Mercier" userId="b4fbace6-72ad-4592-b27d-535191bf0bec" providerId="ADAL" clId="{43491469-63E5-4AF4-A451-2151A57B2BCA}" dt="2023-05-23T13:44:24.553" v="39874" actId="12084"/>
          <ac:graphicFrameMkLst>
            <pc:docMk/>
            <pc:sldMk cId="3453779615" sldId="714"/>
            <ac:graphicFrameMk id="3" creationId="{292F5F38-D679-B2E7-5C31-CAF940D2D392}"/>
          </ac:graphicFrameMkLst>
        </pc:graphicFrameChg>
        <pc:graphicFrameChg chg="add del mod ord modVis replST delST">
          <ac:chgData name="Alexandre Mercier" userId="b4fbace6-72ad-4592-b27d-535191bf0bec" providerId="ADAL" clId="{43491469-63E5-4AF4-A451-2151A57B2BCA}" dt="2023-05-23T13:44:24.553" v="39874" actId="12084"/>
          <ac:graphicFrameMkLst>
            <pc:docMk/>
            <pc:sldMk cId="3453779615" sldId="714"/>
            <ac:graphicFrameMk id="8" creationId="{910B89A9-4CB1-1987-22A3-59A68F8A9A29}"/>
          </ac:graphicFrameMkLst>
        </pc:graphicFrameChg>
        <pc:graphicFrameChg chg="add mod ord modVis replST">
          <ac:chgData name="Alexandre Mercier" userId="b4fbace6-72ad-4592-b27d-535191bf0bec" providerId="ADAL" clId="{43491469-63E5-4AF4-A451-2151A57B2BCA}" dt="2023-05-23T14:11:34.698" v="40216"/>
          <ac:graphicFrameMkLst>
            <pc:docMk/>
            <pc:sldMk cId="3453779615" sldId="714"/>
            <ac:graphicFrameMk id="56" creationId="{094D538D-E6F7-EDDD-12FA-313A6DF8ED2A}"/>
          </ac:graphicFrameMkLst>
        </pc:graphicFrameChg>
        <pc:cxnChg chg="del mod">
          <ac:chgData name="Alexandre Mercier" userId="b4fbace6-72ad-4592-b27d-535191bf0bec" providerId="ADAL" clId="{43491469-63E5-4AF4-A451-2151A57B2BCA}" dt="2023-05-23T13:42:41.525" v="39846" actId="478"/>
          <ac:cxnSpMkLst>
            <pc:docMk/>
            <pc:sldMk cId="3453779615" sldId="714"/>
            <ac:cxnSpMk id="18" creationId="{81B6D918-9BFF-3F76-7017-ABBC3F581DC2}"/>
          </ac:cxnSpMkLst>
        </pc:cxnChg>
        <pc:cxnChg chg="del mod">
          <ac:chgData name="Alexandre Mercier" userId="b4fbace6-72ad-4592-b27d-535191bf0bec" providerId="ADAL" clId="{43491469-63E5-4AF4-A451-2151A57B2BCA}" dt="2023-05-23T13:42:41.525" v="39846" actId="478"/>
          <ac:cxnSpMkLst>
            <pc:docMk/>
            <pc:sldMk cId="3453779615" sldId="714"/>
            <ac:cxnSpMk id="20" creationId="{392BB4EF-A105-C3BF-D7D0-FF445E7AB294}"/>
          </ac:cxnSpMkLst>
        </pc:cxnChg>
        <pc:cxnChg chg="del mod">
          <ac:chgData name="Alexandre Mercier" userId="b4fbace6-72ad-4592-b27d-535191bf0bec" providerId="ADAL" clId="{43491469-63E5-4AF4-A451-2151A57B2BCA}" dt="2023-05-23T13:42:41.525" v="39846" actId="478"/>
          <ac:cxnSpMkLst>
            <pc:docMk/>
            <pc:sldMk cId="3453779615" sldId="714"/>
            <ac:cxnSpMk id="26" creationId="{429D46C1-00F5-282C-6200-FC96FD565D97}"/>
          </ac:cxnSpMkLst>
        </pc:cxnChg>
        <pc:cxnChg chg="add del mod">
          <ac:chgData name="Alexandre Mercier" userId="b4fbace6-72ad-4592-b27d-535191bf0bec" providerId="ADAL" clId="{43491469-63E5-4AF4-A451-2151A57B2BCA}" dt="2023-05-23T13:50:55.141" v="39931" actId="478"/>
          <ac:cxnSpMkLst>
            <pc:docMk/>
            <pc:sldMk cId="3453779615" sldId="714"/>
            <ac:cxnSpMk id="27" creationId="{FF1C5396-A30A-3E8F-8FD8-D3F6CF051F3C}"/>
          </ac:cxnSpMkLst>
        </pc:cxnChg>
        <pc:cxnChg chg="del mod">
          <ac:chgData name="Alexandre Mercier" userId="b4fbace6-72ad-4592-b27d-535191bf0bec" providerId="ADAL" clId="{43491469-63E5-4AF4-A451-2151A57B2BCA}" dt="2023-05-23T13:42:41.525" v="39846" actId="478"/>
          <ac:cxnSpMkLst>
            <pc:docMk/>
            <pc:sldMk cId="3453779615" sldId="714"/>
            <ac:cxnSpMk id="34" creationId="{0004AD28-3DCD-9300-0C3B-1E70FC170351}"/>
          </ac:cxnSpMkLst>
        </pc:cxnChg>
        <pc:cxnChg chg="del mod">
          <ac:chgData name="Alexandre Mercier" userId="b4fbace6-72ad-4592-b27d-535191bf0bec" providerId="ADAL" clId="{43491469-63E5-4AF4-A451-2151A57B2BCA}" dt="2023-05-23T13:42:41.525" v="39846" actId="478"/>
          <ac:cxnSpMkLst>
            <pc:docMk/>
            <pc:sldMk cId="3453779615" sldId="714"/>
            <ac:cxnSpMk id="46" creationId="{6D8B96C2-9EE1-55CB-9512-F096F01D1089}"/>
          </ac:cxnSpMkLst>
        </pc:cxnChg>
        <pc:cxnChg chg="add mod">
          <ac:chgData name="Alexandre Mercier" userId="b4fbace6-72ad-4592-b27d-535191bf0bec" providerId="ADAL" clId="{43491469-63E5-4AF4-A451-2151A57B2BCA}" dt="2023-05-23T14:52:00.028" v="40524" actId="14100"/>
          <ac:cxnSpMkLst>
            <pc:docMk/>
            <pc:sldMk cId="3453779615" sldId="714"/>
            <ac:cxnSpMk id="47" creationId="{A8113CA8-5FAE-A400-D9AB-50926C470BD8}"/>
          </ac:cxnSpMkLst>
        </pc:cxnChg>
        <pc:cxnChg chg="add mod">
          <ac:chgData name="Alexandre Mercier" userId="b4fbace6-72ad-4592-b27d-535191bf0bec" providerId="ADAL" clId="{43491469-63E5-4AF4-A451-2151A57B2BCA}" dt="2023-05-23T14:35:05.297" v="40473" actId="14100"/>
          <ac:cxnSpMkLst>
            <pc:docMk/>
            <pc:sldMk cId="3453779615" sldId="714"/>
            <ac:cxnSpMk id="48" creationId="{5948DC98-514C-C80C-354C-0B4A5D7D557A}"/>
          </ac:cxnSpMkLst>
        </pc:cxnChg>
        <pc:cxnChg chg="add mod">
          <ac:chgData name="Alexandre Mercier" userId="b4fbace6-72ad-4592-b27d-535191bf0bec" providerId="ADAL" clId="{43491469-63E5-4AF4-A451-2151A57B2BCA}" dt="2023-05-23T14:35:22.984" v="40476" actId="14100"/>
          <ac:cxnSpMkLst>
            <pc:docMk/>
            <pc:sldMk cId="3453779615" sldId="714"/>
            <ac:cxnSpMk id="63" creationId="{AA649928-50FB-FD35-8D28-AE1ECEE1A9C9}"/>
          </ac:cxnSpMkLst>
        </pc:cxnChg>
        <pc:cxnChg chg="add mod">
          <ac:chgData name="Alexandre Mercier" userId="b4fbace6-72ad-4592-b27d-535191bf0bec" providerId="ADAL" clId="{43491469-63E5-4AF4-A451-2151A57B2BCA}" dt="2023-05-23T14:27:14.779" v="40376" actId="1076"/>
          <ac:cxnSpMkLst>
            <pc:docMk/>
            <pc:sldMk cId="3453779615" sldId="714"/>
            <ac:cxnSpMk id="64" creationId="{11CF4B2D-6D85-D8A5-8B85-1A2D83717CDD}"/>
          </ac:cxnSpMkLst>
        </pc:cxnChg>
        <pc:cxnChg chg="add mod">
          <ac:chgData name="Alexandre Mercier" userId="b4fbace6-72ad-4592-b27d-535191bf0bec" providerId="ADAL" clId="{43491469-63E5-4AF4-A451-2151A57B2BCA}" dt="2023-05-23T14:27:14.779" v="40376" actId="1076"/>
          <ac:cxnSpMkLst>
            <pc:docMk/>
            <pc:sldMk cId="3453779615" sldId="714"/>
            <ac:cxnSpMk id="66" creationId="{0D805D66-B37C-DB6F-AF4D-3D2E007929DD}"/>
          </ac:cxnSpMkLst>
        </pc:cxnChg>
        <pc:cxnChg chg="add mod">
          <ac:chgData name="Alexandre Mercier" userId="b4fbace6-72ad-4592-b27d-535191bf0bec" providerId="ADAL" clId="{43491469-63E5-4AF4-A451-2151A57B2BCA}" dt="2023-05-23T14:27:14.779" v="40376" actId="1076"/>
          <ac:cxnSpMkLst>
            <pc:docMk/>
            <pc:sldMk cId="3453779615" sldId="714"/>
            <ac:cxnSpMk id="69" creationId="{708D98B0-9C8F-556C-473A-30BEC723CFF9}"/>
          </ac:cxnSpMkLst>
        </pc:cxnChg>
        <pc:cxnChg chg="add mod">
          <ac:chgData name="Alexandre Mercier" userId="b4fbace6-72ad-4592-b27d-535191bf0bec" providerId="ADAL" clId="{43491469-63E5-4AF4-A451-2151A57B2BCA}" dt="2023-05-23T14:27:14.779" v="40376" actId="1076"/>
          <ac:cxnSpMkLst>
            <pc:docMk/>
            <pc:sldMk cId="3453779615" sldId="714"/>
            <ac:cxnSpMk id="71" creationId="{706F0223-96EB-88D1-7C50-45BCF3C4E984}"/>
          </ac:cxnSpMkLst>
        </pc:cxnChg>
        <pc:cxnChg chg="add mod">
          <ac:chgData name="Alexandre Mercier" userId="b4fbace6-72ad-4592-b27d-535191bf0bec" providerId="ADAL" clId="{43491469-63E5-4AF4-A451-2151A57B2BCA}" dt="2023-05-23T14:29:05.940" v="40413" actId="14100"/>
          <ac:cxnSpMkLst>
            <pc:docMk/>
            <pc:sldMk cId="3453779615" sldId="714"/>
            <ac:cxnSpMk id="86" creationId="{BD15191A-CB01-1932-2357-67CBE94D1B77}"/>
          </ac:cxnSpMkLst>
        </pc:cxnChg>
        <pc:cxnChg chg="add mod">
          <ac:chgData name="Alexandre Mercier" userId="b4fbace6-72ad-4592-b27d-535191bf0bec" providerId="ADAL" clId="{43491469-63E5-4AF4-A451-2151A57B2BCA}" dt="2023-05-23T14:29:20.003" v="40417" actId="14100"/>
          <ac:cxnSpMkLst>
            <pc:docMk/>
            <pc:sldMk cId="3453779615" sldId="714"/>
            <ac:cxnSpMk id="88" creationId="{94E4AD31-8542-A6F6-1748-C010727F0F18}"/>
          </ac:cxnSpMkLst>
        </pc:cxnChg>
        <pc:cxnChg chg="add mod">
          <ac:chgData name="Alexandre Mercier" userId="b4fbace6-72ad-4592-b27d-535191bf0bec" providerId="ADAL" clId="{43491469-63E5-4AF4-A451-2151A57B2BCA}" dt="2023-05-23T14:29:17.420" v="40416" actId="14100"/>
          <ac:cxnSpMkLst>
            <pc:docMk/>
            <pc:sldMk cId="3453779615" sldId="714"/>
            <ac:cxnSpMk id="92" creationId="{67AAA396-9842-1431-2E47-6A8B5175D784}"/>
          </ac:cxnSpMkLst>
        </pc:cxnChg>
        <pc:cxnChg chg="add mod">
          <ac:chgData name="Alexandre Mercier" userId="b4fbace6-72ad-4592-b27d-535191bf0bec" providerId="ADAL" clId="{43491469-63E5-4AF4-A451-2151A57B2BCA}" dt="2023-05-23T14:29:38.961" v="40421" actId="14100"/>
          <ac:cxnSpMkLst>
            <pc:docMk/>
            <pc:sldMk cId="3453779615" sldId="714"/>
            <ac:cxnSpMk id="96" creationId="{6D8DD978-59A9-777B-F9E1-A173AE55A0FA}"/>
          </ac:cxnSpMkLst>
        </pc:cxnChg>
      </pc:sldChg>
      <pc:sldChg chg="addSp delSp modSp add del mod ord">
        <pc:chgData name="Alexandre Mercier" userId="b4fbace6-72ad-4592-b27d-535191bf0bec" providerId="ADAL" clId="{43491469-63E5-4AF4-A451-2151A57B2BCA}" dt="2023-05-23T15:11:28.128" v="40767" actId="47"/>
        <pc:sldMkLst>
          <pc:docMk/>
          <pc:sldMk cId="2871222588" sldId="715"/>
        </pc:sldMkLst>
        <pc:spChg chg="mod">
          <ac:chgData name="Alexandre Mercier" userId="b4fbace6-72ad-4592-b27d-535191bf0bec" providerId="ADAL" clId="{43491469-63E5-4AF4-A451-2151A57B2BCA}" dt="2023-05-23T15:05:31.925" v="40572" actId="948"/>
          <ac:spMkLst>
            <pc:docMk/>
            <pc:sldMk cId="2871222588" sldId="715"/>
            <ac:spMk id="2" creationId="{32A92DB8-5530-5193-7884-E06332096CE9}"/>
          </ac:spMkLst>
        </pc:spChg>
        <pc:spChg chg="add del mod modVis">
          <ac:chgData name="Alexandre Mercier" userId="b4fbace6-72ad-4592-b27d-535191bf0bec" providerId="ADAL" clId="{43491469-63E5-4AF4-A451-2151A57B2BCA}" dt="2023-05-23T15:05:29.595" v="40559"/>
          <ac:spMkLst>
            <pc:docMk/>
            <pc:sldMk cId="2871222588" sldId="715"/>
            <ac:spMk id="3" creationId="{CCA0622F-BCC3-51C6-CA80-31D155FB5069}"/>
          </ac:spMkLst>
        </pc:spChg>
        <pc:spChg chg="add del mod modVis">
          <ac:chgData name="Alexandre Mercier" userId="b4fbace6-72ad-4592-b27d-535191bf0bec" providerId="ADAL" clId="{43491469-63E5-4AF4-A451-2151A57B2BCA}" dt="2023-05-23T15:05:31.961" v="40596"/>
          <ac:spMkLst>
            <pc:docMk/>
            <pc:sldMk cId="2871222588" sldId="715"/>
            <ac:spMk id="7" creationId="{04DB8627-22FB-94EE-D67D-50853FAAC987}"/>
          </ac:spMkLst>
        </pc:spChg>
        <pc:spChg chg="mod">
          <ac:chgData name="Alexandre Mercier" userId="b4fbace6-72ad-4592-b27d-535191bf0bec" providerId="ADAL" clId="{43491469-63E5-4AF4-A451-2151A57B2BCA}" dt="2023-05-23T15:05:50.903" v="40602" actId="207"/>
          <ac:spMkLst>
            <pc:docMk/>
            <pc:sldMk cId="2871222588" sldId="715"/>
            <ac:spMk id="14" creationId="{C5CE1C44-924F-75C3-D1F7-751402804A5C}"/>
          </ac:spMkLst>
        </pc:spChg>
        <pc:spChg chg="mod">
          <ac:chgData name="Alexandre Mercier" userId="b4fbace6-72ad-4592-b27d-535191bf0bec" providerId="ADAL" clId="{43491469-63E5-4AF4-A451-2151A57B2BCA}" dt="2023-05-23T15:05:50.903" v="40602" actId="207"/>
          <ac:spMkLst>
            <pc:docMk/>
            <pc:sldMk cId="2871222588" sldId="715"/>
            <ac:spMk id="17" creationId="{41D93199-F9DA-5208-0C91-E4360BEB7C6D}"/>
          </ac:spMkLst>
        </pc:spChg>
        <pc:spChg chg="mod">
          <ac:chgData name="Alexandre Mercier" userId="b4fbace6-72ad-4592-b27d-535191bf0bec" providerId="ADAL" clId="{43491469-63E5-4AF4-A451-2151A57B2BCA}" dt="2023-05-23T15:05:50.903" v="40602" actId="207"/>
          <ac:spMkLst>
            <pc:docMk/>
            <pc:sldMk cId="2871222588" sldId="715"/>
            <ac:spMk id="19" creationId="{40A9E457-84FC-BC39-A9FA-4C500CF6A0BA}"/>
          </ac:spMkLst>
        </pc:spChg>
        <pc:spChg chg="mod">
          <ac:chgData name="Alexandre Mercier" userId="b4fbace6-72ad-4592-b27d-535191bf0bec" providerId="ADAL" clId="{43491469-63E5-4AF4-A451-2151A57B2BCA}" dt="2023-05-23T15:05:50.903" v="40602" actId="207"/>
          <ac:spMkLst>
            <pc:docMk/>
            <pc:sldMk cId="2871222588" sldId="715"/>
            <ac:spMk id="21" creationId="{1D5D19D5-B311-80C7-DB9E-FD4205DC257A}"/>
          </ac:spMkLst>
        </pc:spChg>
        <pc:spChg chg="mod">
          <ac:chgData name="Alexandre Mercier" userId="b4fbace6-72ad-4592-b27d-535191bf0bec" providerId="ADAL" clId="{43491469-63E5-4AF4-A451-2151A57B2BCA}" dt="2023-05-23T15:05:50.903" v="40602" actId="207"/>
          <ac:spMkLst>
            <pc:docMk/>
            <pc:sldMk cId="2871222588" sldId="715"/>
            <ac:spMk id="22" creationId="{C88CD253-C4EE-6B82-BE90-241650241B55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32" creationId="{2C546F5C-434E-1254-D118-4D396BCD6813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33" creationId="{09504664-D7E0-A01B-309E-185997AAC024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37" creationId="{04F1CFEC-C9C3-2F05-A037-069B8952683B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38" creationId="{D128163D-8D4F-FC63-739F-F7D5BD881579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39" creationId="{A1C2CD30-07D5-9D8C-9571-668CFB1ED390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40" creationId="{ED3098D8-54B2-3ADB-99DB-89004E8F3439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41" creationId="{B8529A6B-B95D-97A2-06A7-841E4BEAD67C}"/>
          </ac:spMkLst>
        </pc:spChg>
        <pc:spChg chg="mod">
          <ac:chgData name="Alexandre Mercier" userId="b4fbace6-72ad-4592-b27d-535191bf0bec" providerId="ADAL" clId="{43491469-63E5-4AF4-A451-2151A57B2BCA}" dt="2023-05-23T15:05:57.763" v="40604" actId="207"/>
          <ac:spMkLst>
            <pc:docMk/>
            <pc:sldMk cId="2871222588" sldId="715"/>
            <ac:spMk id="44" creationId="{869805EB-FD1D-2A26-F45A-2019B89A416C}"/>
          </ac:spMkLst>
        </pc:spChg>
        <pc:spChg chg="mod">
          <ac:chgData name="Alexandre Mercier" userId="b4fbace6-72ad-4592-b27d-535191bf0bec" providerId="ADAL" clId="{43491469-63E5-4AF4-A451-2151A57B2BCA}" dt="2023-05-23T15:06:16.719" v="40608" actId="207"/>
          <ac:spMkLst>
            <pc:docMk/>
            <pc:sldMk cId="2871222588" sldId="715"/>
            <ac:spMk id="57" creationId="{1D7AC13D-055F-0C02-971C-793BCA5CE832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58" creationId="{A703550A-B774-C89B-BFA5-60DC52EA5C5C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59" creationId="{F595714B-572B-C0A9-64EB-3C7622CD9C99}"/>
          </ac:spMkLst>
        </pc:spChg>
        <pc:spChg chg="mod">
          <ac:chgData name="Alexandre Mercier" userId="b4fbace6-72ad-4592-b27d-535191bf0bec" providerId="ADAL" clId="{43491469-63E5-4AF4-A451-2151A57B2BCA}" dt="2023-05-23T15:06:10.233" v="40607" actId="207"/>
          <ac:spMkLst>
            <pc:docMk/>
            <pc:sldMk cId="2871222588" sldId="715"/>
            <ac:spMk id="60" creationId="{299E4834-BA6F-8F50-C3B8-237D8C76D643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75" creationId="{DE96ECB6-7677-3DBD-DDAD-BF71E259136D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83" creationId="{A2A438CD-B0A2-E39D-5D75-366C9A7A4D8F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84" creationId="{354ECDC4-7084-677A-182E-77DE75420E9F}"/>
          </ac:spMkLst>
        </pc:spChg>
        <pc:spChg chg="mod">
          <ac:chgData name="Alexandre Mercier" userId="b4fbace6-72ad-4592-b27d-535191bf0bec" providerId="ADAL" clId="{43491469-63E5-4AF4-A451-2151A57B2BCA}" dt="2023-05-23T15:07:38.322" v="40621" actId="207"/>
          <ac:spMkLst>
            <pc:docMk/>
            <pc:sldMk cId="2871222588" sldId="715"/>
            <ac:spMk id="85" creationId="{3A69438F-4A2B-C6F3-0D77-A0B4B6E75620}"/>
          </ac:spMkLst>
        </pc:spChg>
        <pc:grpChg chg="mod">
          <ac:chgData name="Alexandre Mercier" userId="b4fbace6-72ad-4592-b27d-535191bf0bec" providerId="ADAL" clId="{43491469-63E5-4AF4-A451-2151A57B2BCA}" dt="2023-05-23T15:05:50.903" v="40602" actId="207"/>
          <ac:grpSpMkLst>
            <pc:docMk/>
            <pc:sldMk cId="2871222588" sldId="715"/>
            <ac:grpSpMk id="13" creationId="{B9FC4FEA-EE4B-AFF6-7A13-B25F016CDE73}"/>
          </ac:grpSpMkLst>
        </pc:grpChg>
        <pc:grpChg chg="mod">
          <ac:chgData name="Alexandre Mercier" userId="b4fbace6-72ad-4592-b27d-535191bf0bec" providerId="ADAL" clId="{43491469-63E5-4AF4-A451-2151A57B2BCA}" dt="2023-05-23T15:07:38.322" v="40621" actId="207"/>
          <ac:grpSpMkLst>
            <pc:docMk/>
            <pc:sldMk cId="2871222588" sldId="715"/>
            <ac:grpSpMk id="36" creationId="{0C144464-3FE9-CDF0-9764-EA311B59BF80}"/>
          </ac:grpSpMkLst>
        </pc:grpChg>
        <pc:graphicFrameChg chg="mod">
          <ac:chgData name="Alexandre Mercier" userId="b4fbace6-72ad-4592-b27d-535191bf0bec" providerId="ADAL" clId="{43491469-63E5-4AF4-A451-2151A57B2BCA}" dt="2023-05-23T15:05:31.961" v="40598"/>
          <ac:graphicFrameMkLst>
            <pc:docMk/>
            <pc:sldMk cId="2871222588" sldId="715"/>
            <ac:graphicFrameMk id="56" creationId="{094D538D-E6F7-EDDD-12FA-313A6DF8ED2A}"/>
          </ac:graphicFrameMkLst>
        </pc:graphicFrameChg>
        <pc:cxnChg chg="mod">
          <ac:chgData name="Alexandre Mercier" userId="b4fbace6-72ad-4592-b27d-535191bf0bec" providerId="ADAL" clId="{43491469-63E5-4AF4-A451-2151A57B2BCA}" dt="2023-05-23T15:06:45.630" v="40619" actId="14861"/>
          <ac:cxnSpMkLst>
            <pc:docMk/>
            <pc:sldMk cId="2871222588" sldId="715"/>
            <ac:cxnSpMk id="48" creationId="{5948DC98-514C-C80C-354C-0B4A5D7D557A}"/>
          </ac:cxnSpMkLst>
        </pc:cxnChg>
      </pc:sldChg>
      <pc:sldChg chg="addSp delSp modSp add mod ord modTransition modShow modNotesTx">
        <pc:chgData name="Alexandre Mercier" userId="b4fbace6-72ad-4592-b27d-535191bf0bec" providerId="ADAL" clId="{43491469-63E5-4AF4-A451-2151A57B2BCA}" dt="2023-05-26T11:22:41.843" v="46854"/>
        <pc:sldMkLst>
          <pc:docMk/>
          <pc:sldMk cId="2779312784" sldId="716"/>
        </pc:sldMkLst>
        <pc:spChg chg="mod ord">
          <ac:chgData name="Alexandre Mercier" userId="b4fbace6-72ad-4592-b27d-535191bf0bec" providerId="ADAL" clId="{43491469-63E5-4AF4-A451-2151A57B2BCA}" dt="2023-05-23T15:12:18.421" v="40820"/>
          <ac:spMkLst>
            <pc:docMk/>
            <pc:sldMk cId="2779312784" sldId="716"/>
            <ac:spMk id="2" creationId="{32A92DB8-5530-5193-7884-E06332096CE9}"/>
          </ac:spMkLst>
        </pc:spChg>
        <pc:spChg chg="add del mod modVis">
          <ac:chgData name="Alexandre Mercier" userId="b4fbace6-72ad-4592-b27d-535191bf0bec" providerId="ADAL" clId="{43491469-63E5-4AF4-A451-2151A57B2BCA}" dt="2023-05-23T15:11:35.087" v="40808"/>
          <ac:spMkLst>
            <pc:docMk/>
            <pc:sldMk cId="2779312784" sldId="716"/>
            <ac:spMk id="3" creationId="{7CC9DF32-BBD8-4A8D-ED99-1E207BA6BD98}"/>
          </ac:spMkLst>
        </pc:spChg>
        <pc:spChg chg="mod ord">
          <ac:chgData name="Alexandre Mercier" userId="b4fbace6-72ad-4592-b27d-535191bf0bec" providerId="ADAL" clId="{43491469-63E5-4AF4-A451-2151A57B2BCA}" dt="2023-05-23T15:12:18.421" v="40822"/>
          <ac:spMkLst>
            <pc:docMk/>
            <pc:sldMk cId="2779312784" sldId="716"/>
            <ac:spMk id="4" creationId="{EBCCC1A4-CB7A-A7C2-CDB3-ED13DC96E2CA}"/>
          </ac:spMkLst>
        </pc:spChg>
        <pc:spChg chg="mod ord">
          <ac:chgData name="Alexandre Mercier" userId="b4fbace6-72ad-4592-b27d-535191bf0bec" providerId="ADAL" clId="{43491469-63E5-4AF4-A451-2151A57B2BCA}" dt="2023-05-23T15:12:18.421" v="40824"/>
          <ac:spMkLst>
            <pc:docMk/>
            <pc:sldMk cId="2779312784" sldId="716"/>
            <ac:spMk id="5" creationId="{1DEE99B9-2CE2-2386-10FE-E5AFAA53808D}"/>
          </ac:spMkLst>
        </pc:spChg>
        <pc:spChg chg="mod ord">
          <ac:chgData name="Alexandre Mercier" userId="b4fbace6-72ad-4592-b27d-535191bf0bec" providerId="ADAL" clId="{43491469-63E5-4AF4-A451-2151A57B2BCA}" dt="2023-05-23T15:12:18.421" v="40826"/>
          <ac:spMkLst>
            <pc:docMk/>
            <pc:sldMk cId="2779312784" sldId="716"/>
            <ac:spMk id="6" creationId="{7684BC75-6B1E-5C81-7434-53FAB05F739C}"/>
          </ac:spMkLst>
        </pc:spChg>
        <pc:spChg chg="add mod">
          <ac:chgData name="Alexandre Mercier" userId="b4fbace6-72ad-4592-b27d-535191bf0bec" providerId="ADAL" clId="{43491469-63E5-4AF4-A451-2151A57B2BCA}" dt="2023-05-25T09:20:42.187" v="43532" actId="207"/>
          <ac:spMkLst>
            <pc:docMk/>
            <pc:sldMk cId="2779312784" sldId="716"/>
            <ac:spMk id="7" creationId="{0F39EEE2-7C41-DA2D-D5DF-5541BAD116F4}"/>
          </ac:spMkLst>
        </pc:spChg>
        <pc:spChg chg="mod">
          <ac:chgData name="Alexandre Mercier" userId="b4fbace6-72ad-4592-b27d-535191bf0bec" providerId="ADAL" clId="{43491469-63E5-4AF4-A451-2151A57B2BCA}" dt="2023-05-23T15:14:57.390" v="41026" actId="207"/>
          <ac:spMkLst>
            <pc:docMk/>
            <pc:sldMk cId="2779312784" sldId="716"/>
            <ac:spMk id="14" creationId="{C5CE1C44-924F-75C3-D1F7-751402804A5C}"/>
          </ac:spMkLst>
        </pc:spChg>
        <pc:spChg chg="mod">
          <ac:chgData name="Alexandre Mercier" userId="b4fbace6-72ad-4592-b27d-535191bf0bec" providerId="ADAL" clId="{43491469-63E5-4AF4-A451-2151A57B2BCA}" dt="2023-05-23T15:14:57.390" v="41026" actId="207"/>
          <ac:spMkLst>
            <pc:docMk/>
            <pc:sldMk cId="2779312784" sldId="716"/>
            <ac:spMk id="17" creationId="{41D93199-F9DA-5208-0C91-E4360BEB7C6D}"/>
          </ac:spMkLst>
        </pc:spChg>
        <pc:spChg chg="mod">
          <ac:chgData name="Alexandre Mercier" userId="b4fbace6-72ad-4592-b27d-535191bf0bec" providerId="ADAL" clId="{43491469-63E5-4AF4-A451-2151A57B2BCA}" dt="2023-05-23T15:14:57.390" v="41026" actId="207"/>
          <ac:spMkLst>
            <pc:docMk/>
            <pc:sldMk cId="2779312784" sldId="716"/>
            <ac:spMk id="19" creationId="{40A9E457-84FC-BC39-A9FA-4C500CF6A0BA}"/>
          </ac:spMkLst>
        </pc:spChg>
        <pc:spChg chg="mod">
          <ac:chgData name="Alexandre Mercier" userId="b4fbace6-72ad-4592-b27d-535191bf0bec" providerId="ADAL" clId="{43491469-63E5-4AF4-A451-2151A57B2BCA}" dt="2023-05-23T15:14:57.390" v="41026" actId="207"/>
          <ac:spMkLst>
            <pc:docMk/>
            <pc:sldMk cId="2779312784" sldId="716"/>
            <ac:spMk id="21" creationId="{1D5D19D5-B311-80C7-DB9E-FD4205DC257A}"/>
          </ac:spMkLst>
        </pc:spChg>
        <pc:spChg chg="mod">
          <ac:chgData name="Alexandre Mercier" userId="b4fbace6-72ad-4592-b27d-535191bf0bec" providerId="ADAL" clId="{43491469-63E5-4AF4-A451-2151A57B2BCA}" dt="2023-05-23T15:14:57.390" v="41026" actId="207"/>
          <ac:spMkLst>
            <pc:docMk/>
            <pc:sldMk cId="2779312784" sldId="716"/>
            <ac:spMk id="22" creationId="{C88CD253-C4EE-6B82-BE90-241650241B55}"/>
          </ac:spMkLst>
        </pc:spChg>
        <pc:spChg chg="mod ord">
          <ac:chgData name="Alexandre Mercier" userId="b4fbace6-72ad-4592-b27d-535191bf0bec" providerId="ADAL" clId="{43491469-63E5-4AF4-A451-2151A57B2BCA}" dt="2023-05-23T15:12:18.421" v="40830"/>
          <ac:spMkLst>
            <pc:docMk/>
            <pc:sldMk cId="2779312784" sldId="716"/>
            <ac:spMk id="23" creationId="{A0E59ADA-822B-B4ED-44DE-97DDC224A772}"/>
          </ac:spMkLst>
        </pc:spChg>
        <pc:spChg chg="mod ord">
          <ac:chgData name="Alexandre Mercier" userId="b4fbace6-72ad-4592-b27d-535191bf0bec" providerId="ADAL" clId="{43491469-63E5-4AF4-A451-2151A57B2BCA}" dt="2023-05-23T15:12:18.425" v="40832"/>
          <ac:spMkLst>
            <pc:docMk/>
            <pc:sldMk cId="2779312784" sldId="716"/>
            <ac:spMk id="32" creationId="{2C546F5C-434E-1254-D118-4D396BCD6813}"/>
          </ac:spMkLst>
        </pc:spChg>
        <pc:spChg chg="mod ord">
          <ac:chgData name="Alexandre Mercier" userId="b4fbace6-72ad-4592-b27d-535191bf0bec" providerId="ADAL" clId="{43491469-63E5-4AF4-A451-2151A57B2BCA}" dt="2023-05-23T15:12:18.425" v="40834"/>
          <ac:spMkLst>
            <pc:docMk/>
            <pc:sldMk cId="2779312784" sldId="716"/>
            <ac:spMk id="33" creationId="{09504664-D7E0-A01B-309E-185997AAC024}"/>
          </ac:spMkLst>
        </pc:spChg>
        <pc:spChg chg="mod">
          <ac:chgData name="Alexandre Mercier" userId="b4fbace6-72ad-4592-b27d-535191bf0bec" providerId="ADAL" clId="{43491469-63E5-4AF4-A451-2151A57B2BCA}" dt="2023-05-23T15:13:37.243" v="41014" actId="692"/>
          <ac:spMkLst>
            <pc:docMk/>
            <pc:sldMk cId="2779312784" sldId="716"/>
            <ac:spMk id="37" creationId="{04F1CFEC-C9C3-2F05-A037-069B8952683B}"/>
          </ac:spMkLst>
        </pc:spChg>
        <pc:spChg chg="mod">
          <ac:chgData name="Alexandre Mercier" userId="b4fbace6-72ad-4592-b27d-535191bf0bec" providerId="ADAL" clId="{43491469-63E5-4AF4-A451-2151A57B2BCA}" dt="2023-05-23T15:13:37.243" v="41014" actId="692"/>
          <ac:spMkLst>
            <pc:docMk/>
            <pc:sldMk cId="2779312784" sldId="716"/>
            <ac:spMk id="38" creationId="{D128163D-8D4F-FC63-739F-F7D5BD881579}"/>
          </ac:spMkLst>
        </pc:spChg>
        <pc:spChg chg="mod">
          <ac:chgData name="Alexandre Mercier" userId="b4fbace6-72ad-4592-b27d-535191bf0bec" providerId="ADAL" clId="{43491469-63E5-4AF4-A451-2151A57B2BCA}" dt="2023-05-23T15:13:37.243" v="41014" actId="692"/>
          <ac:spMkLst>
            <pc:docMk/>
            <pc:sldMk cId="2779312784" sldId="716"/>
            <ac:spMk id="39" creationId="{A1C2CD30-07D5-9D8C-9571-668CFB1ED390}"/>
          </ac:spMkLst>
        </pc:spChg>
        <pc:spChg chg="mod">
          <ac:chgData name="Alexandre Mercier" userId="b4fbace6-72ad-4592-b27d-535191bf0bec" providerId="ADAL" clId="{43491469-63E5-4AF4-A451-2151A57B2BCA}" dt="2023-05-23T15:13:37.243" v="41014" actId="692"/>
          <ac:spMkLst>
            <pc:docMk/>
            <pc:sldMk cId="2779312784" sldId="716"/>
            <ac:spMk id="40" creationId="{ED3098D8-54B2-3ADB-99DB-89004E8F3439}"/>
          </ac:spMkLst>
        </pc:spChg>
        <pc:spChg chg="mod">
          <ac:chgData name="Alexandre Mercier" userId="b4fbace6-72ad-4592-b27d-535191bf0bec" providerId="ADAL" clId="{43491469-63E5-4AF4-A451-2151A57B2BCA}" dt="2023-05-23T15:13:37.243" v="41014" actId="692"/>
          <ac:spMkLst>
            <pc:docMk/>
            <pc:sldMk cId="2779312784" sldId="716"/>
            <ac:spMk id="41" creationId="{B8529A6B-B95D-97A2-06A7-841E4BEAD67C}"/>
          </ac:spMkLst>
        </pc:spChg>
        <pc:spChg chg="mod ord">
          <ac:chgData name="Alexandre Mercier" userId="b4fbace6-72ad-4592-b27d-535191bf0bec" providerId="ADAL" clId="{43491469-63E5-4AF4-A451-2151A57B2BCA}" dt="2023-05-23T15:12:18.425" v="40836"/>
          <ac:spMkLst>
            <pc:docMk/>
            <pc:sldMk cId="2779312784" sldId="716"/>
            <ac:spMk id="43" creationId="{D169B8D2-F061-CB56-F079-043937FE57B6}"/>
          </ac:spMkLst>
        </pc:spChg>
        <pc:spChg chg="mod ord">
          <ac:chgData name="Alexandre Mercier" userId="b4fbace6-72ad-4592-b27d-535191bf0bec" providerId="ADAL" clId="{43491469-63E5-4AF4-A451-2151A57B2BCA}" dt="2023-05-23T15:14:53.665" v="41025" actId="207"/>
          <ac:spMkLst>
            <pc:docMk/>
            <pc:sldMk cId="2779312784" sldId="716"/>
            <ac:spMk id="44" creationId="{869805EB-FD1D-2A26-F45A-2019B89A416C}"/>
          </ac:spMkLst>
        </pc:spChg>
        <pc:spChg chg="mod ord">
          <ac:chgData name="Alexandre Mercier" userId="b4fbace6-72ad-4592-b27d-535191bf0bec" providerId="ADAL" clId="{43491469-63E5-4AF4-A451-2151A57B2BCA}" dt="2023-05-23T15:12:18.425" v="40844"/>
          <ac:spMkLst>
            <pc:docMk/>
            <pc:sldMk cId="2779312784" sldId="716"/>
            <ac:spMk id="53" creationId="{1CCD89DC-B87C-DC0E-C44C-92F10355C210}"/>
          </ac:spMkLst>
        </pc:spChg>
        <pc:spChg chg="mod ord">
          <ac:chgData name="Alexandre Mercier" userId="b4fbace6-72ad-4592-b27d-535191bf0bec" providerId="ADAL" clId="{43491469-63E5-4AF4-A451-2151A57B2BCA}" dt="2023-05-23T15:12:18.429" v="40846"/>
          <ac:spMkLst>
            <pc:docMk/>
            <pc:sldMk cId="2779312784" sldId="716"/>
            <ac:spMk id="54" creationId="{3D0FF543-B490-C729-4DDF-691143FA2A15}"/>
          </ac:spMkLst>
        </pc:spChg>
        <pc:spChg chg="mod ord">
          <ac:chgData name="Alexandre Mercier" userId="b4fbace6-72ad-4592-b27d-535191bf0bec" providerId="ADAL" clId="{43491469-63E5-4AF4-A451-2151A57B2BCA}" dt="2023-05-23T15:12:18.429" v="40848"/>
          <ac:spMkLst>
            <pc:docMk/>
            <pc:sldMk cId="2779312784" sldId="716"/>
            <ac:spMk id="55" creationId="{3BC0D2E1-994C-A2B3-0FAD-7899BAB8FDFB}"/>
          </ac:spMkLst>
        </pc:spChg>
        <pc:spChg chg="mod ord">
          <ac:chgData name="Alexandre Mercier" userId="b4fbace6-72ad-4592-b27d-535191bf0bec" providerId="ADAL" clId="{43491469-63E5-4AF4-A451-2151A57B2BCA}" dt="2023-05-23T15:14:48.789" v="41024" actId="207"/>
          <ac:spMkLst>
            <pc:docMk/>
            <pc:sldMk cId="2779312784" sldId="716"/>
            <ac:spMk id="57" creationId="{1D7AC13D-055F-0C02-971C-793BCA5CE832}"/>
          </ac:spMkLst>
        </pc:spChg>
        <pc:spChg chg="mod ord">
          <ac:chgData name="Alexandre Mercier" userId="b4fbace6-72ad-4592-b27d-535191bf0bec" providerId="ADAL" clId="{43491469-63E5-4AF4-A451-2151A57B2BCA}" dt="2023-05-23T15:13:25.453" v="41012" actId="692"/>
          <ac:spMkLst>
            <pc:docMk/>
            <pc:sldMk cId="2779312784" sldId="716"/>
            <ac:spMk id="58" creationId="{A703550A-B774-C89B-BFA5-60DC52EA5C5C}"/>
          </ac:spMkLst>
        </pc:spChg>
        <pc:spChg chg="mod ord">
          <ac:chgData name="Alexandre Mercier" userId="b4fbace6-72ad-4592-b27d-535191bf0bec" providerId="ADAL" clId="{43491469-63E5-4AF4-A451-2151A57B2BCA}" dt="2023-05-23T15:13:29.839" v="41013" actId="692"/>
          <ac:spMkLst>
            <pc:docMk/>
            <pc:sldMk cId="2779312784" sldId="716"/>
            <ac:spMk id="59" creationId="{F595714B-572B-C0A9-64EB-3C7622CD9C99}"/>
          </ac:spMkLst>
        </pc:spChg>
        <pc:spChg chg="mod ord">
          <ac:chgData name="Alexandre Mercier" userId="b4fbace6-72ad-4592-b27d-535191bf0bec" providerId="ADAL" clId="{43491469-63E5-4AF4-A451-2151A57B2BCA}" dt="2023-05-23T15:14:43.436" v="41023" actId="207"/>
          <ac:spMkLst>
            <pc:docMk/>
            <pc:sldMk cId="2779312784" sldId="716"/>
            <ac:spMk id="60" creationId="{299E4834-BA6F-8F50-C3B8-237D8C76D643}"/>
          </ac:spMkLst>
        </pc:spChg>
        <pc:spChg chg="mod ord">
          <ac:chgData name="Alexandre Mercier" userId="b4fbace6-72ad-4592-b27d-535191bf0bec" providerId="ADAL" clId="{43491469-63E5-4AF4-A451-2151A57B2BCA}" dt="2023-05-23T15:12:18.433" v="40858"/>
          <ac:spMkLst>
            <pc:docMk/>
            <pc:sldMk cId="2779312784" sldId="716"/>
            <ac:spMk id="61" creationId="{306EE4C0-B76E-7042-F39E-47B462BB9A30}"/>
          </ac:spMkLst>
        </pc:spChg>
        <pc:spChg chg="mod ord">
          <ac:chgData name="Alexandre Mercier" userId="b4fbace6-72ad-4592-b27d-535191bf0bec" providerId="ADAL" clId="{43491469-63E5-4AF4-A451-2151A57B2BCA}" dt="2023-05-23T15:13:58.712" v="41018" actId="207"/>
          <ac:spMkLst>
            <pc:docMk/>
            <pc:sldMk cId="2779312784" sldId="716"/>
            <ac:spMk id="75" creationId="{DE96ECB6-7677-3DBD-DDAD-BF71E259136D}"/>
          </ac:spMkLst>
        </pc:spChg>
        <pc:spChg chg="mod ord">
          <ac:chgData name="Alexandre Mercier" userId="b4fbace6-72ad-4592-b27d-535191bf0bec" providerId="ADAL" clId="{43491469-63E5-4AF4-A451-2151A57B2BCA}" dt="2023-05-23T15:13:58.712" v="41018" actId="207"/>
          <ac:spMkLst>
            <pc:docMk/>
            <pc:sldMk cId="2779312784" sldId="716"/>
            <ac:spMk id="83" creationId="{A2A438CD-B0A2-E39D-5D75-366C9A7A4D8F}"/>
          </ac:spMkLst>
        </pc:spChg>
        <pc:spChg chg="mod ord">
          <ac:chgData name="Alexandre Mercier" userId="b4fbace6-72ad-4592-b27d-535191bf0bec" providerId="ADAL" clId="{43491469-63E5-4AF4-A451-2151A57B2BCA}" dt="2023-05-23T15:13:58.712" v="41018" actId="207"/>
          <ac:spMkLst>
            <pc:docMk/>
            <pc:sldMk cId="2779312784" sldId="716"/>
            <ac:spMk id="84" creationId="{354ECDC4-7084-677A-182E-77DE75420E9F}"/>
          </ac:spMkLst>
        </pc:spChg>
        <pc:spChg chg="mod ord">
          <ac:chgData name="Alexandre Mercier" userId="b4fbace6-72ad-4592-b27d-535191bf0bec" providerId="ADAL" clId="{43491469-63E5-4AF4-A451-2151A57B2BCA}" dt="2023-05-23T15:13:58.712" v="41018" actId="207"/>
          <ac:spMkLst>
            <pc:docMk/>
            <pc:sldMk cId="2779312784" sldId="716"/>
            <ac:spMk id="85" creationId="{3A69438F-4A2B-C6F3-0D77-A0B4B6E75620}"/>
          </ac:spMkLst>
        </pc:spChg>
        <pc:spChg chg="mod ord">
          <ac:chgData name="Alexandre Mercier" userId="b4fbace6-72ad-4592-b27d-535191bf0bec" providerId="ADAL" clId="{43491469-63E5-4AF4-A451-2151A57B2BCA}" dt="2023-05-23T15:14:02.850" v="41019" actId="207"/>
          <ac:spMkLst>
            <pc:docMk/>
            <pc:sldMk cId="2779312784" sldId="716"/>
            <ac:spMk id="100" creationId="{56F72ED1-3030-A420-3564-97BA29FB7978}"/>
          </ac:spMkLst>
        </pc:spChg>
        <pc:spChg chg="mod ord">
          <ac:chgData name="Alexandre Mercier" userId="b4fbace6-72ad-4592-b27d-535191bf0bec" providerId="ADAL" clId="{43491469-63E5-4AF4-A451-2151A57B2BCA}" dt="2023-05-23T15:14:16.849" v="41021" actId="692"/>
          <ac:spMkLst>
            <pc:docMk/>
            <pc:sldMk cId="2779312784" sldId="716"/>
            <ac:spMk id="101" creationId="{BD955F50-9B68-3685-EC33-75771B01BE01}"/>
          </ac:spMkLst>
        </pc:spChg>
        <pc:spChg chg="mod ord">
          <ac:chgData name="Alexandre Mercier" userId="b4fbace6-72ad-4592-b27d-535191bf0bec" providerId="ADAL" clId="{43491469-63E5-4AF4-A451-2151A57B2BCA}" dt="2023-05-23T15:14:06.796" v="41020" actId="207"/>
          <ac:spMkLst>
            <pc:docMk/>
            <pc:sldMk cId="2779312784" sldId="716"/>
            <ac:spMk id="102" creationId="{31BE79E4-88F6-5FCE-36D2-FBF3E5DAFEE1}"/>
          </ac:spMkLst>
        </pc:spChg>
        <pc:grpChg chg="mod ord">
          <ac:chgData name="Alexandre Mercier" userId="b4fbace6-72ad-4592-b27d-535191bf0bec" providerId="ADAL" clId="{43491469-63E5-4AF4-A451-2151A57B2BCA}" dt="2023-05-23T15:14:57.390" v="41026" actId="207"/>
          <ac:grpSpMkLst>
            <pc:docMk/>
            <pc:sldMk cId="2779312784" sldId="716"/>
            <ac:grpSpMk id="13" creationId="{B9FC4FEA-EE4B-AFF6-7A13-B25F016CDE73}"/>
          </ac:grpSpMkLst>
        </pc:grpChg>
        <pc:grpChg chg="mod ord">
          <ac:chgData name="Alexandre Mercier" userId="b4fbace6-72ad-4592-b27d-535191bf0bec" providerId="ADAL" clId="{43491469-63E5-4AF4-A451-2151A57B2BCA}" dt="2023-05-23T15:12:18.441" v="40892"/>
          <ac:grpSpMkLst>
            <pc:docMk/>
            <pc:sldMk cId="2779312784" sldId="716"/>
            <ac:grpSpMk id="36" creationId="{0C144464-3FE9-CDF0-9764-EA311B59BF80}"/>
          </ac:grpSpMkLst>
        </pc:grpChg>
        <pc:graphicFrameChg chg="mod">
          <ac:chgData name="Alexandre Mercier" userId="b4fbace6-72ad-4592-b27d-535191bf0bec" providerId="ADAL" clId="{43491469-63E5-4AF4-A451-2151A57B2BCA}" dt="2023-05-23T15:12:18.445" v="40896"/>
          <ac:graphicFrameMkLst>
            <pc:docMk/>
            <pc:sldMk cId="2779312784" sldId="716"/>
            <ac:graphicFrameMk id="56" creationId="{094D538D-E6F7-EDDD-12FA-313A6DF8ED2A}"/>
          </ac:graphicFrameMkLst>
        </pc:graphicFrameChg>
        <pc:cxnChg chg="mod ord">
          <ac:chgData name="Alexandre Mercier" userId="b4fbace6-72ad-4592-b27d-535191bf0bec" providerId="ADAL" clId="{43491469-63E5-4AF4-A451-2151A57B2BCA}" dt="2023-05-23T15:12:18.425" v="40840"/>
          <ac:cxnSpMkLst>
            <pc:docMk/>
            <pc:sldMk cId="2779312784" sldId="716"/>
            <ac:cxnSpMk id="47" creationId="{A8113CA8-5FAE-A400-D9AB-50926C470BD8}"/>
          </ac:cxnSpMkLst>
        </pc:cxnChg>
        <pc:cxnChg chg="mod ord">
          <ac:chgData name="Alexandre Mercier" userId="b4fbace6-72ad-4592-b27d-535191bf0bec" providerId="ADAL" clId="{43491469-63E5-4AF4-A451-2151A57B2BCA}" dt="2023-05-23T15:12:37.129" v="40898" actId="692"/>
          <ac:cxnSpMkLst>
            <pc:docMk/>
            <pc:sldMk cId="2779312784" sldId="716"/>
            <ac:cxnSpMk id="48" creationId="{5948DC98-514C-C80C-354C-0B4A5D7D557A}"/>
          </ac:cxnSpMkLst>
        </pc:cxnChg>
        <pc:cxnChg chg="mod ord">
          <ac:chgData name="Alexandre Mercier" userId="b4fbace6-72ad-4592-b27d-535191bf0bec" providerId="ADAL" clId="{43491469-63E5-4AF4-A451-2151A57B2BCA}" dt="2023-05-23T15:12:18.433" v="40860"/>
          <ac:cxnSpMkLst>
            <pc:docMk/>
            <pc:sldMk cId="2779312784" sldId="716"/>
            <ac:cxnSpMk id="63" creationId="{AA649928-50FB-FD35-8D28-AE1ECEE1A9C9}"/>
          </ac:cxnSpMkLst>
        </pc:cxnChg>
        <pc:cxnChg chg="mod ord">
          <ac:chgData name="Alexandre Mercier" userId="b4fbace6-72ad-4592-b27d-535191bf0bec" providerId="ADAL" clId="{43491469-63E5-4AF4-A451-2151A57B2BCA}" dt="2023-05-23T15:14:32.614" v="41022" actId="692"/>
          <ac:cxnSpMkLst>
            <pc:docMk/>
            <pc:sldMk cId="2779312784" sldId="716"/>
            <ac:cxnSpMk id="64" creationId="{11CF4B2D-6D85-D8A5-8B85-1A2D83717CDD}"/>
          </ac:cxnSpMkLst>
        </pc:cxnChg>
        <pc:cxnChg chg="mod ord">
          <ac:chgData name="Alexandre Mercier" userId="b4fbace6-72ad-4592-b27d-535191bf0bec" providerId="ADAL" clId="{43491469-63E5-4AF4-A451-2151A57B2BCA}" dt="2023-05-23T15:14:32.614" v="41022" actId="692"/>
          <ac:cxnSpMkLst>
            <pc:docMk/>
            <pc:sldMk cId="2779312784" sldId="716"/>
            <ac:cxnSpMk id="66" creationId="{0D805D66-B37C-DB6F-AF4D-3D2E007929DD}"/>
          </ac:cxnSpMkLst>
        </pc:cxnChg>
        <pc:cxnChg chg="mod ord">
          <ac:chgData name="Alexandre Mercier" userId="b4fbace6-72ad-4592-b27d-535191bf0bec" providerId="ADAL" clId="{43491469-63E5-4AF4-A451-2151A57B2BCA}" dt="2023-05-23T15:12:18.433" v="40866"/>
          <ac:cxnSpMkLst>
            <pc:docMk/>
            <pc:sldMk cId="2779312784" sldId="716"/>
            <ac:cxnSpMk id="69" creationId="{708D98B0-9C8F-556C-473A-30BEC723CFF9}"/>
          </ac:cxnSpMkLst>
        </pc:cxnChg>
        <pc:cxnChg chg="mod ord">
          <ac:chgData name="Alexandre Mercier" userId="b4fbace6-72ad-4592-b27d-535191bf0bec" providerId="ADAL" clId="{43491469-63E5-4AF4-A451-2151A57B2BCA}" dt="2023-05-23T15:14:32.614" v="41022" actId="692"/>
          <ac:cxnSpMkLst>
            <pc:docMk/>
            <pc:sldMk cId="2779312784" sldId="716"/>
            <ac:cxnSpMk id="71" creationId="{706F0223-96EB-88D1-7C50-45BCF3C4E984}"/>
          </ac:cxnSpMkLst>
        </pc:cxnChg>
        <pc:cxnChg chg="mod ord">
          <ac:chgData name="Alexandre Mercier" userId="b4fbace6-72ad-4592-b27d-535191bf0bec" providerId="ADAL" clId="{43491469-63E5-4AF4-A451-2151A57B2BCA}" dt="2023-05-23T15:14:32.614" v="41022" actId="692"/>
          <ac:cxnSpMkLst>
            <pc:docMk/>
            <pc:sldMk cId="2779312784" sldId="716"/>
            <ac:cxnSpMk id="86" creationId="{BD15191A-CB01-1932-2357-67CBE94D1B77}"/>
          </ac:cxnSpMkLst>
        </pc:cxnChg>
        <pc:cxnChg chg="mod ord">
          <ac:chgData name="Alexandre Mercier" userId="b4fbace6-72ad-4592-b27d-535191bf0bec" providerId="ADAL" clId="{43491469-63E5-4AF4-A451-2151A57B2BCA}" dt="2023-05-23T15:14:32.614" v="41022" actId="692"/>
          <ac:cxnSpMkLst>
            <pc:docMk/>
            <pc:sldMk cId="2779312784" sldId="716"/>
            <ac:cxnSpMk id="88" creationId="{94E4AD31-8542-A6F6-1748-C010727F0F18}"/>
          </ac:cxnSpMkLst>
        </pc:cxnChg>
        <pc:cxnChg chg="mod ord">
          <ac:chgData name="Alexandre Mercier" userId="b4fbace6-72ad-4592-b27d-535191bf0bec" providerId="ADAL" clId="{43491469-63E5-4AF4-A451-2151A57B2BCA}" dt="2023-05-23T15:14:32.614" v="41022" actId="692"/>
          <ac:cxnSpMkLst>
            <pc:docMk/>
            <pc:sldMk cId="2779312784" sldId="716"/>
            <ac:cxnSpMk id="92" creationId="{67AAA396-9842-1431-2E47-6A8B5175D784}"/>
          </ac:cxnSpMkLst>
        </pc:cxnChg>
        <pc:cxnChg chg="mod ord">
          <ac:chgData name="Alexandre Mercier" userId="b4fbace6-72ad-4592-b27d-535191bf0bec" providerId="ADAL" clId="{43491469-63E5-4AF4-A451-2151A57B2BCA}" dt="2023-05-23T15:14:32.614" v="41022" actId="692"/>
          <ac:cxnSpMkLst>
            <pc:docMk/>
            <pc:sldMk cId="2779312784" sldId="716"/>
            <ac:cxnSpMk id="96" creationId="{6D8DD978-59A9-777B-F9E1-A173AE55A0FA}"/>
          </ac:cxnSpMkLst>
        </pc:cxnChg>
      </pc:sldChg>
      <pc:sldChg chg="addSp delSp modSp add mod modTransition addAnim delAnim modAnim modShow modNotesTx">
        <pc:chgData name="Alexandre Mercier" userId="b4fbace6-72ad-4592-b27d-535191bf0bec" providerId="ADAL" clId="{43491469-63E5-4AF4-A451-2151A57B2BCA}" dt="2023-05-26T10:30:59.793" v="46852" actId="20577"/>
        <pc:sldMkLst>
          <pc:docMk/>
          <pc:sldMk cId="1422883423" sldId="717"/>
        </pc:sldMkLst>
        <pc:spChg chg="add mod">
          <ac:chgData name="Alexandre Mercier" userId="b4fbace6-72ad-4592-b27d-535191bf0bec" providerId="ADAL" clId="{43491469-63E5-4AF4-A451-2151A57B2BCA}" dt="2023-05-26T10:30:59.793" v="46852" actId="20577"/>
          <ac:spMkLst>
            <pc:docMk/>
            <pc:sldMk cId="1422883423" sldId="717"/>
            <ac:spMk id="7" creationId="{B7DBC028-1CBD-AF7B-B0AA-A318E83B5C3B}"/>
          </ac:spMkLst>
        </pc:spChg>
        <pc:spChg chg="mod">
          <ac:chgData name="Alexandre Mercier" userId="b4fbace6-72ad-4592-b27d-535191bf0bec" providerId="ADAL" clId="{43491469-63E5-4AF4-A451-2151A57B2BCA}" dt="2023-05-24T20:46:20.765" v="42183" actId="14100"/>
          <ac:spMkLst>
            <pc:docMk/>
            <pc:sldMk cId="1422883423" sldId="717"/>
            <ac:spMk id="11" creationId="{F1189F9D-F300-EA65-58CC-95D588887FC9}"/>
          </ac:spMkLst>
        </pc:spChg>
        <pc:spChg chg="add del mod">
          <ac:chgData name="Alexandre Mercier" userId="b4fbace6-72ad-4592-b27d-535191bf0bec" providerId="ADAL" clId="{43491469-63E5-4AF4-A451-2151A57B2BCA}" dt="2023-05-24T20:46:25.934" v="42184" actId="14100"/>
          <ac:spMkLst>
            <pc:docMk/>
            <pc:sldMk cId="1422883423" sldId="717"/>
            <ac:spMk id="12" creationId="{D1D337B3-B2A2-6736-0270-FEDDDC5CDC37}"/>
          </ac:spMkLst>
        </pc:spChg>
        <pc:spChg chg="del">
          <ac:chgData name="Alexandre Mercier" userId="b4fbace6-72ad-4592-b27d-535191bf0bec" providerId="ADAL" clId="{43491469-63E5-4AF4-A451-2151A57B2BCA}" dt="2023-05-25T09:54:06.542" v="44287" actId="478"/>
          <ac:spMkLst>
            <pc:docMk/>
            <pc:sldMk cId="1422883423" sldId="717"/>
            <ac:spMk id="13" creationId="{2245C180-943F-0F20-1FB7-900316B15D63}"/>
          </ac:spMkLst>
        </pc:spChg>
        <pc:graphicFrameChg chg="mod modGraphic">
          <ac:chgData name="Alexandre Mercier" userId="b4fbace6-72ad-4592-b27d-535191bf0bec" providerId="ADAL" clId="{43491469-63E5-4AF4-A451-2151A57B2BCA}" dt="2023-05-24T20:45:14.212" v="42177" actId="14100"/>
          <ac:graphicFrameMkLst>
            <pc:docMk/>
            <pc:sldMk cId="1422883423" sldId="717"/>
            <ac:graphicFrameMk id="10" creationId="{E4FD7E6A-468B-8CC0-E8E9-74599B438187}"/>
          </ac:graphicFrameMkLst>
        </pc:graphicFrameChg>
      </pc:sldChg>
      <pc:sldMasterChg chg="addSp modSp mod delSldLayout">
        <pc:chgData name="Alexandre Mercier" userId="b4fbace6-72ad-4592-b27d-535191bf0bec" providerId="ADAL" clId="{43491469-63E5-4AF4-A451-2151A57B2BCA}" dt="2023-05-23T10:49:32.620" v="6893"/>
        <pc:sldMasterMkLst>
          <pc:docMk/>
          <pc:sldMasterMk cId="0" sldId="2147483725"/>
        </pc:sldMasterMkLst>
        <pc:spChg chg="mod">
          <ac:chgData name="Alexandre Mercier" userId="b4fbace6-72ad-4592-b27d-535191bf0bec" providerId="ADAL" clId="{43491469-63E5-4AF4-A451-2151A57B2BCA}" dt="2023-05-23T10:49:30.438" v="5164" actId="948"/>
          <ac:spMkLst>
            <pc:docMk/>
            <pc:sldMasterMk cId="0" sldId="2147483725"/>
            <ac:spMk id="4098" creationId="{00000000-0000-0000-0000-000000000000}"/>
          </ac:spMkLst>
        </pc:spChg>
        <pc:graphicFrameChg chg="add mod ord modVis replST">
          <ac:chgData name="Alexandre Mercier" userId="b4fbace6-72ad-4592-b27d-535191bf0bec" providerId="ADAL" clId="{43491469-63E5-4AF4-A451-2151A57B2BCA}" dt="2023-05-23T10:49:32.620" v="6893"/>
          <ac:graphicFrameMkLst>
            <pc:docMk/>
            <pc:sldMasterMk cId="0" sldId="2147483725"/>
            <ac:graphicFrameMk id="3" creationId="{FA43482B-6B16-589C-62E8-B635FEE7749C}"/>
          </ac:graphicFrameMkLst>
        </pc:graphicFrameChg>
        <pc:sldLayoutChg chg="del">
          <pc:chgData name="Alexandre Mercier" userId="b4fbace6-72ad-4592-b27d-535191bf0bec" providerId="ADAL" clId="{43491469-63E5-4AF4-A451-2151A57B2BCA}" dt="2023-05-16T16:16:33.299" v="221" actId="47"/>
          <pc:sldLayoutMkLst>
            <pc:docMk/>
            <pc:sldMasterMk cId="0" sldId="2147483725"/>
            <pc:sldLayoutMk cId="893749986" sldId="2147483779"/>
          </pc:sldLayoutMkLst>
        </pc:sldLayoutChg>
      </pc:sldMasterChg>
    </pc:docChg>
  </pc:docChgLst>
  <pc:docChgLst>
    <pc:chgData name="Alexandre Mercier" userId="b4fbace6-72ad-4592-b27d-535191bf0bec" providerId="ADAL" clId="{A258FCB8-1969-43B9-BB9C-CA2C54090BA9}"/>
    <pc:docChg chg="undo redo custSel addSld delSld modSld sldOrd modMainMaster replTag">
      <pc:chgData name="Alexandre Mercier" userId="b4fbace6-72ad-4592-b27d-535191bf0bec" providerId="ADAL" clId="{A258FCB8-1969-43B9-BB9C-CA2C54090BA9}" dt="2023-06-28T11:31:10.884" v="7927"/>
      <pc:docMkLst>
        <pc:docMk/>
      </pc:docMkLst>
      <pc:sldChg chg="modSp mod ord">
        <pc:chgData name="Alexandre Mercier" userId="b4fbace6-72ad-4592-b27d-535191bf0bec" providerId="ADAL" clId="{A258FCB8-1969-43B9-BB9C-CA2C54090BA9}" dt="2023-06-27T21:58:26.065" v="6669" actId="20577"/>
        <pc:sldMkLst>
          <pc:docMk/>
          <pc:sldMk cId="1496881392" sldId="672"/>
        </pc:sldMkLst>
        <pc:spChg chg="mod">
          <ac:chgData name="Alexandre Mercier" userId="b4fbace6-72ad-4592-b27d-535191bf0bec" providerId="ADAL" clId="{A258FCB8-1969-43B9-BB9C-CA2C54090BA9}" dt="2023-06-27T21:58:26.065" v="6669" actId="20577"/>
          <ac:spMkLst>
            <pc:docMk/>
            <pc:sldMk cId="1496881392" sldId="672"/>
            <ac:spMk id="3" creationId="{00000000-0000-0000-0000-000000000000}"/>
          </ac:spMkLst>
        </pc:spChg>
      </pc:sldChg>
      <pc:sldChg chg="addSp delSp modSp mod modNotesTx">
        <pc:chgData name="Alexandre Mercier" userId="b4fbace6-72ad-4592-b27d-535191bf0bec" providerId="ADAL" clId="{A258FCB8-1969-43B9-BB9C-CA2C54090BA9}" dt="2023-06-28T11:31:10.884" v="7927"/>
        <pc:sldMkLst>
          <pc:docMk/>
          <pc:sldMk cId="1327605788" sldId="695"/>
        </pc:sldMkLst>
        <pc:spChg chg="add del mod modVis">
          <ac:chgData name="Alexandre Mercier" userId="b4fbace6-72ad-4592-b27d-535191bf0bec" providerId="ADAL" clId="{A258FCB8-1969-43B9-BB9C-CA2C54090BA9}" dt="2023-06-27T12:24:10.282" v="3951"/>
          <ac:spMkLst>
            <pc:docMk/>
            <pc:sldMk cId="1327605788" sldId="695"/>
            <ac:spMk id="2" creationId="{77D19697-EB85-BA39-F974-7F5C2254CFE8}"/>
          </ac:spMkLst>
        </pc:spChg>
        <pc:spChg chg="add del mod modVis">
          <ac:chgData name="Alexandre Mercier" userId="b4fbace6-72ad-4592-b27d-535191bf0bec" providerId="ADAL" clId="{A258FCB8-1969-43B9-BB9C-CA2C54090BA9}" dt="2023-06-28T11:31:10.873" v="7925"/>
          <ac:spMkLst>
            <pc:docMk/>
            <pc:sldMk cId="1327605788" sldId="695"/>
            <ac:spMk id="2" creationId="{F9F936E9-EA70-A197-D44D-EBE353D3EAF8}"/>
          </ac:spMkLst>
        </pc:spChg>
        <pc:spChg chg="add del mod modVis">
          <ac:chgData name="Alexandre Mercier" userId="b4fbace6-72ad-4592-b27d-535191bf0bec" providerId="ADAL" clId="{A258FCB8-1969-43B9-BB9C-CA2C54090BA9}" dt="2023-06-27T12:24:12.451" v="3982"/>
          <ac:spMkLst>
            <pc:docMk/>
            <pc:sldMk cId="1327605788" sldId="695"/>
            <ac:spMk id="4" creationId="{4DD7F915-0C6B-8DDC-6EA4-BB27EE58D33A}"/>
          </ac:spMkLst>
        </pc:spChg>
        <pc:spChg chg="add del mod modVis">
          <ac:chgData name="Alexandre Mercier" userId="b4fbace6-72ad-4592-b27d-535191bf0bec" providerId="ADAL" clId="{A258FCB8-1969-43B9-BB9C-CA2C54090BA9}" dt="2023-06-27T12:24:36.288" v="4013"/>
          <ac:spMkLst>
            <pc:docMk/>
            <pc:sldMk cId="1327605788" sldId="695"/>
            <ac:spMk id="5" creationId="{BA76E0FC-AFFA-F3D8-3712-BE6C0273DFE1}"/>
          </ac:spMkLst>
        </pc:spChg>
        <pc:spChg chg="add del mod modVis">
          <ac:chgData name="Alexandre Mercier" userId="b4fbace6-72ad-4592-b27d-535191bf0bec" providerId="ADAL" clId="{A258FCB8-1969-43B9-BB9C-CA2C54090BA9}" dt="2023-06-27T12:24:40.576" v="4049"/>
          <ac:spMkLst>
            <pc:docMk/>
            <pc:sldMk cId="1327605788" sldId="695"/>
            <ac:spMk id="6" creationId="{34C503B7-15FD-5898-28FD-C7048C193A6A}"/>
          </ac:spMkLst>
        </pc:spChg>
        <pc:spChg chg="add del mod modVis">
          <ac:chgData name="Alexandre Mercier" userId="b4fbace6-72ad-4592-b27d-535191bf0bec" providerId="ADAL" clId="{A258FCB8-1969-43B9-BB9C-CA2C54090BA9}" dt="2023-06-27T12:24:41.606" v="4079"/>
          <ac:spMkLst>
            <pc:docMk/>
            <pc:sldMk cId="1327605788" sldId="695"/>
            <ac:spMk id="7" creationId="{48550F72-12C4-501A-06F9-E7E7C2885666}"/>
          </ac:spMkLst>
        </pc:spChg>
        <pc:spChg chg="add del mod modVis">
          <ac:chgData name="Alexandre Mercier" userId="b4fbace6-72ad-4592-b27d-535191bf0bec" providerId="ADAL" clId="{A258FCB8-1969-43B9-BB9C-CA2C54090BA9}" dt="2023-06-27T12:24:42.376" v="4107"/>
          <ac:spMkLst>
            <pc:docMk/>
            <pc:sldMk cId="1327605788" sldId="695"/>
            <ac:spMk id="8" creationId="{54974CA4-D166-8AB1-9EFC-AB4A587938AD}"/>
          </ac:spMkLst>
        </pc:spChg>
        <pc:spChg chg="add del mod modVis">
          <ac:chgData name="Alexandre Mercier" userId="b4fbace6-72ad-4592-b27d-535191bf0bec" providerId="ADAL" clId="{A258FCB8-1969-43B9-BB9C-CA2C54090BA9}" dt="2023-06-27T12:24:55.146" v="4138"/>
          <ac:spMkLst>
            <pc:docMk/>
            <pc:sldMk cId="1327605788" sldId="695"/>
            <ac:spMk id="9" creationId="{A9B29FD4-11D1-404F-5BE1-8C2500880E00}"/>
          </ac:spMkLst>
        </pc:spChg>
        <pc:spChg chg="add del mod modVis">
          <ac:chgData name="Alexandre Mercier" userId="b4fbace6-72ad-4592-b27d-535191bf0bec" providerId="ADAL" clId="{A258FCB8-1969-43B9-BB9C-CA2C54090BA9}" dt="2023-06-27T12:24:56.676" v="4168"/>
          <ac:spMkLst>
            <pc:docMk/>
            <pc:sldMk cId="1327605788" sldId="695"/>
            <ac:spMk id="10" creationId="{0FEF31AD-3104-DFC0-852B-7B8B45D5C630}"/>
          </ac:spMkLst>
        </pc:spChg>
        <pc:spChg chg="mod">
          <ac:chgData name="Alexandre Mercier" userId="b4fbace6-72ad-4592-b27d-535191bf0bec" providerId="ADAL" clId="{A258FCB8-1969-43B9-BB9C-CA2C54090BA9}" dt="2023-06-27T15:04:27.222" v="4210" actId="20577"/>
          <ac:spMkLst>
            <pc:docMk/>
            <pc:sldMk cId="1327605788" sldId="695"/>
            <ac:spMk id="11" creationId="{00000000-0000-0000-0000-000000000000}"/>
          </ac:spMkLst>
        </pc:spChg>
        <pc:spChg chg="mod">
          <ac:chgData name="Alexandre Mercier" userId="b4fbace6-72ad-4592-b27d-535191bf0bec" providerId="ADAL" clId="{A258FCB8-1969-43B9-BB9C-CA2C54090BA9}" dt="2023-06-28T11:31:10.707" v="7902" actId="948"/>
          <ac:spMkLst>
            <pc:docMk/>
            <pc:sldMk cId="1327605788" sldId="695"/>
            <ac:spMk id="12" creationId="{00000000-0000-0000-0000-000000000000}"/>
          </ac:spMkLst>
        </pc:spChg>
        <pc:spChg chg="add del mod modVis">
          <ac:chgData name="Alexandre Mercier" userId="b4fbace6-72ad-4592-b27d-535191bf0bec" providerId="ADAL" clId="{A258FCB8-1969-43B9-BB9C-CA2C54090BA9}" dt="2023-06-27T12:24:59.405" v="4196"/>
          <ac:spMkLst>
            <pc:docMk/>
            <pc:sldMk cId="1327605788" sldId="695"/>
            <ac:spMk id="14" creationId="{086431B1-8C4C-5B73-AE01-E00C30D0F627}"/>
          </ac:spMkLst>
        </pc:spChg>
        <pc:spChg chg="add del mod modVis">
          <ac:chgData name="Alexandre Mercier" userId="b4fbace6-72ad-4592-b27d-535191bf0bec" providerId="ADAL" clId="{A258FCB8-1969-43B9-BB9C-CA2C54090BA9}" dt="2023-06-27T20:25:14.218" v="5020"/>
          <ac:spMkLst>
            <pc:docMk/>
            <pc:sldMk cId="1327605788" sldId="695"/>
            <ac:spMk id="15" creationId="{CBF1AA2A-A113-1EBF-F0BB-E46636456164}"/>
          </ac:spMkLst>
        </pc:spChg>
        <pc:spChg chg="add del mod modVis">
          <ac:chgData name="Alexandre Mercier" userId="b4fbace6-72ad-4592-b27d-535191bf0bec" providerId="ADAL" clId="{A258FCB8-1969-43B9-BB9C-CA2C54090BA9}" dt="2023-06-27T20:25:14.925" v="5048"/>
          <ac:spMkLst>
            <pc:docMk/>
            <pc:sldMk cId="1327605788" sldId="695"/>
            <ac:spMk id="16" creationId="{3432C6D5-531F-DCAD-A0D1-A840CB9F4D3F}"/>
          </ac:spMkLst>
        </pc:spChg>
        <pc:spChg chg="add del mod modVis">
          <ac:chgData name="Alexandre Mercier" userId="b4fbace6-72ad-4592-b27d-535191bf0bec" providerId="ADAL" clId="{A258FCB8-1969-43B9-BB9C-CA2C54090BA9}" dt="2023-06-27T20:25:23.277" v="5089"/>
          <ac:spMkLst>
            <pc:docMk/>
            <pc:sldMk cId="1327605788" sldId="695"/>
            <ac:spMk id="17" creationId="{F708CDFF-D218-933F-4C00-6F297EED0388}"/>
          </ac:spMkLst>
        </pc:spChg>
        <pc:spChg chg="add del mod modVis">
          <ac:chgData name="Alexandre Mercier" userId="b4fbace6-72ad-4592-b27d-535191bf0bec" providerId="ADAL" clId="{A258FCB8-1969-43B9-BB9C-CA2C54090BA9}" dt="2023-06-27T20:25:24.495" v="5120"/>
          <ac:spMkLst>
            <pc:docMk/>
            <pc:sldMk cId="1327605788" sldId="695"/>
            <ac:spMk id="18" creationId="{1EAEC5EA-4498-AF68-E0E3-B997AC7B5E49}"/>
          </ac:spMkLst>
        </pc:spChg>
        <pc:spChg chg="add del mod modVis">
          <ac:chgData name="Alexandre Mercier" userId="b4fbace6-72ad-4592-b27d-535191bf0bec" providerId="ADAL" clId="{A258FCB8-1969-43B9-BB9C-CA2C54090BA9}" dt="2023-06-27T20:25:26.134" v="5148"/>
          <ac:spMkLst>
            <pc:docMk/>
            <pc:sldMk cId="1327605788" sldId="695"/>
            <ac:spMk id="19" creationId="{1F21B665-8F83-5506-3C4B-72913F1F6A28}"/>
          </ac:spMkLst>
        </pc:spChg>
        <pc:spChg chg="add del mod modVis">
          <ac:chgData name="Alexandre Mercier" userId="b4fbace6-72ad-4592-b27d-535191bf0bec" providerId="ADAL" clId="{A258FCB8-1969-43B9-BB9C-CA2C54090BA9}" dt="2023-06-27T20:25:27.215" v="5176"/>
          <ac:spMkLst>
            <pc:docMk/>
            <pc:sldMk cId="1327605788" sldId="695"/>
            <ac:spMk id="20" creationId="{F25530FC-786A-3D11-ADC8-5AA710924AF9}"/>
          </ac:spMkLst>
        </pc:spChg>
        <pc:spChg chg="add del mod modVis">
          <ac:chgData name="Alexandre Mercier" userId="b4fbace6-72ad-4592-b27d-535191bf0bec" providerId="ADAL" clId="{A258FCB8-1969-43B9-BB9C-CA2C54090BA9}" dt="2023-06-27T20:25:27.744" v="5204"/>
          <ac:spMkLst>
            <pc:docMk/>
            <pc:sldMk cId="1327605788" sldId="695"/>
            <ac:spMk id="21" creationId="{FC0D0C9F-E62D-68A5-9EB6-800A685E3D44}"/>
          </ac:spMkLst>
        </pc:spChg>
        <pc:spChg chg="add del mod modVis">
          <ac:chgData name="Alexandre Mercier" userId="b4fbace6-72ad-4592-b27d-535191bf0bec" providerId="ADAL" clId="{A258FCB8-1969-43B9-BB9C-CA2C54090BA9}" dt="2023-06-27T20:25:32.429" v="5233"/>
          <ac:spMkLst>
            <pc:docMk/>
            <pc:sldMk cId="1327605788" sldId="695"/>
            <ac:spMk id="22" creationId="{D731557B-4D4F-63CA-DEB6-608686BD0765}"/>
          </ac:spMkLst>
        </pc:spChg>
        <pc:spChg chg="add del mod modVis">
          <ac:chgData name="Alexandre Mercier" userId="b4fbace6-72ad-4592-b27d-535191bf0bec" providerId="ADAL" clId="{A258FCB8-1969-43B9-BB9C-CA2C54090BA9}" dt="2023-06-27T20:25:33.464" v="5264"/>
          <ac:spMkLst>
            <pc:docMk/>
            <pc:sldMk cId="1327605788" sldId="695"/>
            <ac:spMk id="23" creationId="{559BF334-CE66-0865-C1AB-E7707994FFE9}"/>
          </ac:spMkLst>
        </pc:spChg>
        <pc:spChg chg="add del mod modVis">
          <ac:chgData name="Alexandre Mercier" userId="b4fbace6-72ad-4592-b27d-535191bf0bec" providerId="ADAL" clId="{A258FCB8-1969-43B9-BB9C-CA2C54090BA9}" dt="2023-06-27T20:46:36.287" v="5460" actId="962"/>
          <ac:spMkLst>
            <pc:docMk/>
            <pc:sldMk cId="1327605788" sldId="695"/>
            <ac:spMk id="24" creationId="{0F29F542-35B7-7743-9DE1-DE946050C497}"/>
          </ac:spMkLst>
        </pc:spChg>
        <pc:spChg chg="add del mod modVis">
          <ac:chgData name="Alexandre Mercier" userId="b4fbace6-72ad-4592-b27d-535191bf0bec" providerId="ADAL" clId="{A258FCB8-1969-43B9-BB9C-CA2C54090BA9}" dt="2023-06-27T20:46:39.824" v="5489"/>
          <ac:spMkLst>
            <pc:docMk/>
            <pc:sldMk cId="1327605788" sldId="695"/>
            <ac:spMk id="25" creationId="{9E6F38E4-DDBF-95D9-0819-39B6DBA72485}"/>
          </ac:spMkLst>
        </pc:spChg>
        <pc:spChg chg="add del mod modVis">
          <ac:chgData name="Alexandre Mercier" userId="b4fbace6-72ad-4592-b27d-535191bf0bec" providerId="ADAL" clId="{A258FCB8-1969-43B9-BB9C-CA2C54090BA9}" dt="2023-06-27T20:47:10.272" v="5522"/>
          <ac:spMkLst>
            <pc:docMk/>
            <pc:sldMk cId="1327605788" sldId="695"/>
            <ac:spMk id="26" creationId="{8D3D6366-A3D8-3C7D-4BF2-8718FAE2737F}"/>
          </ac:spMkLst>
        </pc:spChg>
        <pc:spChg chg="add del mod modVis">
          <ac:chgData name="Alexandre Mercier" userId="b4fbace6-72ad-4592-b27d-535191bf0bec" providerId="ADAL" clId="{A258FCB8-1969-43B9-BB9C-CA2C54090BA9}" dt="2023-06-27T20:47:10.851" v="5549"/>
          <ac:spMkLst>
            <pc:docMk/>
            <pc:sldMk cId="1327605788" sldId="695"/>
            <ac:spMk id="27" creationId="{C45D7433-95AC-A5D3-BE5F-51A198619CA4}"/>
          </ac:spMkLst>
        </pc:spChg>
        <pc:spChg chg="add del mod modVis">
          <ac:chgData name="Alexandre Mercier" userId="b4fbace6-72ad-4592-b27d-535191bf0bec" providerId="ADAL" clId="{A258FCB8-1969-43B9-BB9C-CA2C54090BA9}" dt="2023-06-27T20:47:12.578" v="5576"/>
          <ac:spMkLst>
            <pc:docMk/>
            <pc:sldMk cId="1327605788" sldId="695"/>
            <ac:spMk id="28" creationId="{165064AE-B848-9AB6-EA25-45250637BD3C}"/>
          </ac:spMkLst>
        </pc:spChg>
        <pc:graphicFrameChg chg="mod">
          <ac:chgData name="Alexandre Mercier" userId="b4fbace6-72ad-4592-b27d-535191bf0bec" providerId="ADAL" clId="{A258FCB8-1969-43B9-BB9C-CA2C54090BA9}" dt="2023-06-28T11:31:10.884" v="7927"/>
          <ac:graphicFrameMkLst>
            <pc:docMk/>
            <pc:sldMk cId="1327605788" sldId="695"/>
            <ac:graphicFrameMk id="3" creationId="{C3F17383-8114-3E75-825A-874E2665B2D1}"/>
          </ac:graphicFrameMkLst>
        </pc:graphicFrameChg>
      </pc:sldChg>
      <pc:sldChg chg="del">
        <pc:chgData name="Alexandre Mercier" userId="b4fbace6-72ad-4592-b27d-535191bf0bec" providerId="ADAL" clId="{A258FCB8-1969-43B9-BB9C-CA2C54090BA9}" dt="2023-06-26T10:11:57.914" v="3843" actId="47"/>
        <pc:sldMkLst>
          <pc:docMk/>
          <pc:sldMk cId="2563700865" sldId="696"/>
        </pc:sldMkLst>
      </pc:sldChg>
      <pc:sldChg chg="del">
        <pc:chgData name="Alexandre Mercier" userId="b4fbace6-72ad-4592-b27d-535191bf0bec" providerId="ADAL" clId="{A258FCB8-1969-43B9-BB9C-CA2C54090BA9}" dt="2023-06-26T10:12:38.522" v="3849" actId="47"/>
        <pc:sldMkLst>
          <pc:docMk/>
          <pc:sldMk cId="2683373587" sldId="697"/>
        </pc:sldMkLst>
      </pc:sldChg>
      <pc:sldChg chg="del">
        <pc:chgData name="Alexandre Mercier" userId="b4fbace6-72ad-4592-b27d-535191bf0bec" providerId="ADAL" clId="{A258FCB8-1969-43B9-BB9C-CA2C54090BA9}" dt="2023-06-27T21:59:11.075" v="6697" actId="47"/>
        <pc:sldMkLst>
          <pc:docMk/>
          <pc:sldMk cId="2007659245" sldId="698"/>
        </pc:sldMkLst>
      </pc:sldChg>
      <pc:sldChg chg="addSp delSp modSp mod">
        <pc:chgData name="Alexandre Mercier" userId="b4fbace6-72ad-4592-b27d-535191bf0bec" providerId="ADAL" clId="{A258FCB8-1969-43B9-BB9C-CA2C54090BA9}" dt="2023-06-19T09:54:17.536" v="11" actId="1076"/>
        <pc:sldMkLst>
          <pc:docMk/>
          <pc:sldMk cId="2061202111" sldId="699"/>
        </pc:sldMkLst>
        <pc:spChg chg="add del mod">
          <ac:chgData name="Alexandre Mercier" userId="b4fbace6-72ad-4592-b27d-535191bf0bec" providerId="ADAL" clId="{A258FCB8-1969-43B9-BB9C-CA2C54090BA9}" dt="2023-06-19T09:53:30.770" v="1" actId="931"/>
          <ac:spMkLst>
            <pc:docMk/>
            <pc:sldMk cId="2061202111" sldId="699"/>
            <ac:spMk id="7" creationId="{AAF5F55F-3256-D9B7-9BC3-C8B56AF73F8A}"/>
          </ac:spMkLst>
        </pc:spChg>
        <pc:picChg chg="add mod modCrop">
          <ac:chgData name="Alexandre Mercier" userId="b4fbace6-72ad-4592-b27d-535191bf0bec" providerId="ADAL" clId="{A258FCB8-1969-43B9-BB9C-CA2C54090BA9}" dt="2023-06-19T09:54:17.536" v="11" actId="1076"/>
          <ac:picMkLst>
            <pc:docMk/>
            <pc:sldMk cId="2061202111" sldId="699"/>
            <ac:picMk id="9" creationId="{521B86C1-F6CC-F9AF-C9C4-C3CF81AE6BBA}"/>
          </ac:picMkLst>
        </pc:picChg>
        <pc:picChg chg="del">
          <ac:chgData name="Alexandre Mercier" userId="b4fbace6-72ad-4592-b27d-535191bf0bec" providerId="ADAL" clId="{A258FCB8-1969-43B9-BB9C-CA2C54090BA9}" dt="2023-06-19T09:53:14.511" v="0" actId="478"/>
          <ac:picMkLst>
            <pc:docMk/>
            <pc:sldMk cId="2061202111" sldId="699"/>
            <ac:picMk id="10" creationId="{CDA1BC09-92DD-7C4D-EF5E-DFD3AAF74E32}"/>
          </ac:picMkLst>
        </pc:picChg>
      </pc:sldChg>
      <pc:sldChg chg="del">
        <pc:chgData name="Alexandre Mercier" userId="b4fbace6-72ad-4592-b27d-535191bf0bec" providerId="ADAL" clId="{A258FCB8-1969-43B9-BB9C-CA2C54090BA9}" dt="2023-06-27T23:42:15.860" v="6876" actId="2696"/>
        <pc:sldMkLst>
          <pc:docMk/>
          <pc:sldMk cId="650773634" sldId="700"/>
        </pc:sldMkLst>
      </pc:sldChg>
      <pc:sldChg chg="del">
        <pc:chgData name="Alexandre Mercier" userId="b4fbace6-72ad-4592-b27d-535191bf0bec" providerId="ADAL" clId="{A258FCB8-1969-43B9-BB9C-CA2C54090BA9}" dt="2023-06-27T23:42:29.732" v="6877" actId="2696"/>
        <pc:sldMkLst>
          <pc:docMk/>
          <pc:sldMk cId="3494066010" sldId="703"/>
        </pc:sldMkLst>
      </pc:sldChg>
      <pc:sldChg chg="addSp delSp modSp mod">
        <pc:chgData name="Alexandre Mercier" userId="b4fbace6-72ad-4592-b27d-535191bf0bec" providerId="ADAL" clId="{A258FCB8-1969-43B9-BB9C-CA2C54090BA9}" dt="2023-06-28T09:55:54.343" v="7799" actId="1076"/>
        <pc:sldMkLst>
          <pc:docMk/>
          <pc:sldMk cId="3921475878" sldId="704"/>
        </pc:sldMkLst>
        <pc:spChg chg="mod">
          <ac:chgData name="Alexandre Mercier" userId="b4fbace6-72ad-4592-b27d-535191bf0bec" providerId="ADAL" clId="{A258FCB8-1969-43B9-BB9C-CA2C54090BA9}" dt="2023-06-26T01:08:09.501" v="858" actId="948"/>
          <ac:spMkLst>
            <pc:docMk/>
            <pc:sldMk cId="3921475878" sldId="704"/>
            <ac:spMk id="2" creationId="{F6BC011C-B5B2-7D6E-6BA4-774C57C13EB5}"/>
          </ac:spMkLst>
        </pc:spChg>
        <pc:spChg chg="mod">
          <ac:chgData name="Alexandre Mercier" userId="b4fbace6-72ad-4592-b27d-535191bf0bec" providerId="ADAL" clId="{A258FCB8-1969-43B9-BB9C-CA2C54090BA9}" dt="2023-06-28T09:55:54.343" v="7799" actId="1076"/>
          <ac:spMkLst>
            <pc:docMk/>
            <pc:sldMk cId="3921475878" sldId="704"/>
            <ac:spMk id="7" creationId="{D27576DF-AC41-446B-1679-17D5A5B1BE46}"/>
          </ac:spMkLst>
        </pc:spChg>
        <pc:spChg chg="mod">
          <ac:chgData name="Alexandre Mercier" userId="b4fbace6-72ad-4592-b27d-535191bf0bec" providerId="ADAL" clId="{A258FCB8-1969-43B9-BB9C-CA2C54090BA9}" dt="2023-06-26T01:07:50.908" v="780" actId="5793"/>
          <ac:spMkLst>
            <pc:docMk/>
            <pc:sldMk cId="3921475878" sldId="704"/>
            <ac:spMk id="8" creationId="{F9A3A31E-C627-93F1-832A-E4E04873D1CF}"/>
          </ac:spMkLst>
        </pc:spChg>
        <pc:spChg chg="add del mod modVis">
          <ac:chgData name="Alexandre Mercier" userId="b4fbace6-72ad-4592-b27d-535191bf0bec" providerId="ADAL" clId="{A258FCB8-1969-43B9-BB9C-CA2C54090BA9}" dt="2023-06-26T01:08:06.644" v="821"/>
          <ac:spMkLst>
            <pc:docMk/>
            <pc:sldMk cId="3921475878" sldId="704"/>
            <ac:spMk id="18" creationId="{B9424DB5-348A-0777-1A95-588266F77339}"/>
          </ac:spMkLst>
        </pc:spChg>
        <pc:spChg chg="add del mod modVis">
          <ac:chgData name="Alexandre Mercier" userId="b4fbace6-72ad-4592-b27d-535191bf0bec" providerId="ADAL" clId="{A258FCB8-1969-43B9-BB9C-CA2C54090BA9}" dt="2023-06-26T01:08:07.591" v="849"/>
          <ac:spMkLst>
            <pc:docMk/>
            <pc:sldMk cId="3921475878" sldId="704"/>
            <ac:spMk id="19" creationId="{851F0823-4268-04F3-1BF9-ACA9631C55B5}"/>
          </ac:spMkLst>
        </pc:spChg>
        <pc:spChg chg="add del mod modVis">
          <ac:chgData name="Alexandre Mercier" userId="b4fbace6-72ad-4592-b27d-535191bf0bec" providerId="ADAL" clId="{A258FCB8-1969-43B9-BB9C-CA2C54090BA9}" dt="2023-06-26T01:08:09.607" v="882"/>
          <ac:spMkLst>
            <pc:docMk/>
            <pc:sldMk cId="3921475878" sldId="704"/>
            <ac:spMk id="20" creationId="{BACED974-1803-3236-3AA4-9188DDE9F8B8}"/>
          </ac:spMkLst>
        </pc:spChg>
        <pc:graphicFrameChg chg="mod">
          <ac:chgData name="Alexandre Mercier" userId="b4fbace6-72ad-4592-b27d-535191bf0bec" providerId="ADAL" clId="{A258FCB8-1969-43B9-BB9C-CA2C54090BA9}" dt="2023-06-26T01:08:09.611" v="884"/>
          <ac:graphicFrameMkLst>
            <pc:docMk/>
            <pc:sldMk cId="3921475878" sldId="704"/>
            <ac:graphicFrameMk id="17" creationId="{38629F86-F4AD-E923-8C6D-D026CCC84BBA}"/>
          </ac:graphicFrameMkLst>
        </pc:graphicFrameChg>
      </pc:sldChg>
      <pc:sldChg chg="modSp mod">
        <pc:chgData name="Alexandre Mercier" userId="b4fbace6-72ad-4592-b27d-535191bf0bec" providerId="ADAL" clId="{A258FCB8-1969-43B9-BB9C-CA2C54090BA9}" dt="2023-06-19T16:48:39.541" v="164" actId="20577"/>
        <pc:sldMkLst>
          <pc:docMk/>
          <pc:sldMk cId="1209992595" sldId="705"/>
        </pc:sldMkLst>
        <pc:spChg chg="mod">
          <ac:chgData name="Alexandre Mercier" userId="b4fbace6-72ad-4592-b27d-535191bf0bec" providerId="ADAL" clId="{A258FCB8-1969-43B9-BB9C-CA2C54090BA9}" dt="2023-06-19T16:48:39.541" v="164" actId="20577"/>
          <ac:spMkLst>
            <pc:docMk/>
            <pc:sldMk cId="1209992595" sldId="705"/>
            <ac:spMk id="3" creationId="{51335D28-412D-D41C-BDB0-1AAC4C9F9D7D}"/>
          </ac:spMkLst>
        </pc:spChg>
      </pc:sldChg>
      <pc:sldChg chg="addSp modSp mod modTransition modShow">
        <pc:chgData name="Alexandre Mercier" userId="b4fbace6-72ad-4592-b27d-535191bf0bec" providerId="ADAL" clId="{A258FCB8-1969-43B9-BB9C-CA2C54090BA9}" dt="2023-06-27T21:57:59.786" v="6639"/>
        <pc:sldMkLst>
          <pc:docMk/>
          <pc:sldMk cId="1903782788" sldId="706"/>
        </pc:sldMkLst>
        <pc:spChg chg="mod">
          <ac:chgData name="Alexandre Mercier" userId="b4fbace6-72ad-4592-b27d-535191bf0bec" providerId="ADAL" clId="{A258FCB8-1969-43B9-BB9C-CA2C54090BA9}" dt="2023-06-27T21:57:59.761" v="6635" actId="948"/>
          <ac:spMkLst>
            <pc:docMk/>
            <pc:sldMk cId="1903782788" sldId="706"/>
            <ac:spMk id="2" creationId="{7867FC6D-2EA7-A489-B005-D72FDCE5350A}"/>
          </ac:spMkLst>
        </pc:spChg>
        <pc:spChg chg="mod">
          <ac:chgData name="Alexandre Mercier" userId="b4fbace6-72ad-4592-b27d-535191bf0bec" providerId="ADAL" clId="{A258FCB8-1969-43B9-BB9C-CA2C54090BA9}" dt="2023-06-26T09:55:51.191" v="3421" actId="20577"/>
          <ac:spMkLst>
            <pc:docMk/>
            <pc:sldMk cId="1903782788" sldId="706"/>
            <ac:spMk id="3" creationId="{2A6406F2-28F0-A47D-B1C2-B2A9699D4355}"/>
          </ac:spMkLst>
        </pc:spChg>
        <pc:graphicFrameChg chg="add mod ord modVis replST">
          <ac:chgData name="Alexandre Mercier" userId="b4fbace6-72ad-4592-b27d-535191bf0bec" providerId="ADAL" clId="{A258FCB8-1969-43B9-BB9C-CA2C54090BA9}" dt="2023-06-27T21:57:59.786" v="6639"/>
          <ac:graphicFrameMkLst>
            <pc:docMk/>
            <pc:sldMk cId="1903782788" sldId="706"/>
            <ac:graphicFrameMk id="10" creationId="{BFDC4B3F-0FE1-EDB6-A888-7EAB81E98B42}"/>
          </ac:graphicFrameMkLst>
        </pc:graphicFrameChg>
      </pc:sldChg>
      <pc:sldChg chg="addSp modSp mod modTransition modShow">
        <pc:chgData name="Alexandre Mercier" userId="b4fbace6-72ad-4592-b27d-535191bf0bec" providerId="ADAL" clId="{A258FCB8-1969-43B9-BB9C-CA2C54090BA9}" dt="2023-06-27T21:57:49.352" v="6602"/>
        <pc:sldMkLst>
          <pc:docMk/>
          <pc:sldMk cId="4049337867" sldId="708"/>
        </pc:sldMkLst>
        <pc:spChg chg="mod">
          <ac:chgData name="Alexandre Mercier" userId="b4fbace6-72ad-4592-b27d-535191bf0bec" providerId="ADAL" clId="{A258FCB8-1969-43B9-BB9C-CA2C54090BA9}" dt="2023-06-27T21:57:49.325" v="6598" actId="948"/>
          <ac:spMkLst>
            <pc:docMk/>
            <pc:sldMk cId="4049337867" sldId="708"/>
            <ac:spMk id="2" creationId="{7867FC6D-2EA7-A489-B005-D72FDCE5350A}"/>
          </ac:spMkLst>
        </pc:spChg>
        <pc:spChg chg="mod">
          <ac:chgData name="Alexandre Mercier" userId="b4fbace6-72ad-4592-b27d-535191bf0bec" providerId="ADAL" clId="{A258FCB8-1969-43B9-BB9C-CA2C54090BA9}" dt="2023-06-26T09:56:09.801" v="3425" actId="20577"/>
          <ac:spMkLst>
            <pc:docMk/>
            <pc:sldMk cId="4049337867" sldId="708"/>
            <ac:spMk id="3" creationId="{2A6406F2-28F0-A47D-B1C2-B2A9699D4355}"/>
          </ac:spMkLst>
        </pc:spChg>
        <pc:graphicFrameChg chg="add mod ord modVis replST">
          <ac:chgData name="Alexandre Mercier" userId="b4fbace6-72ad-4592-b27d-535191bf0bec" providerId="ADAL" clId="{A258FCB8-1969-43B9-BB9C-CA2C54090BA9}" dt="2023-06-27T21:57:49.352" v="6602"/>
          <ac:graphicFrameMkLst>
            <pc:docMk/>
            <pc:sldMk cId="4049337867" sldId="708"/>
            <ac:graphicFrameMk id="7" creationId="{2918F751-2450-29DC-F682-FF517E022467}"/>
          </ac:graphicFrameMkLst>
        </pc:graphicFrameChg>
      </pc:sldChg>
      <pc:sldChg chg="addSp delSp modSp mod ord">
        <pc:chgData name="Alexandre Mercier" userId="b4fbace6-72ad-4592-b27d-535191bf0bec" providerId="ADAL" clId="{A258FCB8-1969-43B9-BB9C-CA2C54090BA9}" dt="2023-06-27T22:56:11.325" v="6709" actId="313"/>
        <pc:sldMkLst>
          <pc:docMk/>
          <pc:sldMk cId="154362926" sldId="709"/>
        </pc:sldMkLst>
        <pc:spChg chg="del mod">
          <ac:chgData name="Alexandre Mercier" userId="b4fbace6-72ad-4592-b27d-535191bf0bec" providerId="ADAL" clId="{A258FCB8-1969-43B9-BB9C-CA2C54090BA9}" dt="2023-06-26T01:15:19.728" v="1303" actId="478"/>
          <ac:spMkLst>
            <pc:docMk/>
            <pc:sldMk cId="154362926" sldId="709"/>
            <ac:spMk id="2" creationId="{F9274502-18A1-E7CB-8657-43A1B08DEFF7}"/>
          </ac:spMkLst>
        </pc:spChg>
        <pc:spChg chg="mod">
          <ac:chgData name="Alexandre Mercier" userId="b4fbace6-72ad-4592-b27d-535191bf0bec" providerId="ADAL" clId="{A258FCB8-1969-43B9-BB9C-CA2C54090BA9}" dt="2023-06-27T22:56:11.325" v="6709" actId="313"/>
          <ac:spMkLst>
            <pc:docMk/>
            <pc:sldMk cId="154362926" sldId="709"/>
            <ac:spMk id="3" creationId="{90ED709F-ACAD-B1F7-6A76-D3912B5BE3F8}"/>
          </ac:spMkLst>
        </pc:spChg>
        <pc:spChg chg="add del mod modVis">
          <ac:chgData name="Alexandre Mercier" userId="b4fbace6-72ad-4592-b27d-535191bf0bec" providerId="ADAL" clId="{A258FCB8-1969-43B9-BB9C-CA2C54090BA9}" dt="2023-06-26T01:13:58.914" v="1282"/>
          <ac:spMkLst>
            <pc:docMk/>
            <pc:sldMk cId="154362926" sldId="709"/>
            <ac:spMk id="7" creationId="{41A2D292-08BB-E349-3D13-6ED101DC700E}"/>
          </ac:spMkLst>
        </pc:spChg>
        <pc:graphicFrameChg chg="add mod ord modVis replST">
          <ac:chgData name="Alexandre Mercier" userId="b4fbace6-72ad-4592-b27d-535191bf0bec" providerId="ADAL" clId="{A258FCB8-1969-43B9-BB9C-CA2C54090BA9}" dt="2023-06-26T01:15:20.242" v="1307"/>
          <ac:graphicFrameMkLst>
            <pc:docMk/>
            <pc:sldMk cId="154362926" sldId="709"/>
            <ac:graphicFrameMk id="8" creationId="{D5C05681-51D2-7B8C-5553-B1A4306B6E03}"/>
          </ac:graphicFrameMkLst>
        </pc:graphicFrameChg>
      </pc:sldChg>
      <pc:sldChg chg="modSp mod modNotesTx">
        <pc:chgData name="Alexandre Mercier" userId="b4fbace6-72ad-4592-b27d-535191bf0bec" providerId="ADAL" clId="{A258FCB8-1969-43B9-BB9C-CA2C54090BA9}" dt="2023-06-26T01:11:57.749" v="1163" actId="20577"/>
        <pc:sldMkLst>
          <pc:docMk/>
          <pc:sldMk cId="3628235120" sldId="710"/>
        </pc:sldMkLst>
        <pc:spChg chg="mod">
          <ac:chgData name="Alexandre Mercier" userId="b4fbace6-72ad-4592-b27d-535191bf0bec" providerId="ADAL" clId="{A258FCB8-1969-43B9-BB9C-CA2C54090BA9}" dt="2023-06-26T01:06:39.632" v="688" actId="14100"/>
          <ac:spMkLst>
            <pc:docMk/>
            <pc:sldMk cId="3628235120" sldId="710"/>
            <ac:spMk id="7" creationId="{0571E61B-C0EC-2A06-6B36-E772DC6F05C4}"/>
          </ac:spMkLst>
        </pc:spChg>
      </pc:sldChg>
      <pc:sldChg chg="modSp mod">
        <pc:chgData name="Alexandre Mercier" userId="b4fbace6-72ad-4592-b27d-535191bf0bec" providerId="ADAL" clId="{A258FCB8-1969-43B9-BB9C-CA2C54090BA9}" dt="2023-06-26T01:12:31.899" v="1164" actId="14100"/>
        <pc:sldMkLst>
          <pc:docMk/>
          <pc:sldMk cId="2567454170" sldId="711"/>
        </pc:sldMkLst>
        <pc:spChg chg="mod">
          <ac:chgData name="Alexandre Mercier" userId="b4fbace6-72ad-4592-b27d-535191bf0bec" providerId="ADAL" clId="{A258FCB8-1969-43B9-BB9C-CA2C54090BA9}" dt="2023-06-26T01:12:31.899" v="1164" actId="14100"/>
          <ac:spMkLst>
            <pc:docMk/>
            <pc:sldMk cId="2567454170" sldId="711"/>
            <ac:spMk id="14" creationId="{E62177AD-9C06-19C1-5B5B-E940D4E34A02}"/>
          </ac:spMkLst>
        </pc:spChg>
        <pc:grpChg chg="mod">
          <ac:chgData name="Alexandre Mercier" userId="b4fbace6-72ad-4592-b27d-535191bf0bec" providerId="ADAL" clId="{A258FCB8-1969-43B9-BB9C-CA2C54090BA9}" dt="2023-06-19T16:43:35.624" v="135" actId="1036"/>
          <ac:grpSpMkLst>
            <pc:docMk/>
            <pc:sldMk cId="2567454170" sldId="711"/>
            <ac:grpSpMk id="16" creationId="{5A42614D-72AA-59C3-4938-215435700E46}"/>
          </ac:grpSpMkLst>
        </pc:grpChg>
      </pc:sldChg>
      <pc:sldChg chg="modSp mod">
        <pc:chgData name="Alexandre Mercier" userId="b4fbace6-72ad-4592-b27d-535191bf0bec" providerId="ADAL" clId="{A258FCB8-1969-43B9-BB9C-CA2C54090BA9}" dt="2023-06-19T16:18:54.803" v="13" actId="1076"/>
        <pc:sldMkLst>
          <pc:docMk/>
          <pc:sldMk cId="3225642274" sldId="712"/>
        </pc:sldMkLst>
        <pc:spChg chg="mod">
          <ac:chgData name="Alexandre Mercier" userId="b4fbace6-72ad-4592-b27d-535191bf0bec" providerId="ADAL" clId="{A258FCB8-1969-43B9-BB9C-CA2C54090BA9}" dt="2023-06-19T16:18:54.803" v="13" actId="1076"/>
          <ac:spMkLst>
            <pc:docMk/>
            <pc:sldMk cId="3225642274" sldId="712"/>
            <ac:spMk id="10" creationId="{3F28A15B-7425-42E8-B4CD-E5A8143B1663}"/>
          </ac:spMkLst>
        </pc:spChg>
      </pc:sldChg>
      <pc:sldChg chg="delSp mod">
        <pc:chgData name="Alexandre Mercier" userId="b4fbace6-72ad-4592-b27d-535191bf0bec" providerId="ADAL" clId="{A258FCB8-1969-43B9-BB9C-CA2C54090BA9}" dt="2023-06-27T23:41:13.698" v="6875" actId="478"/>
        <pc:sldMkLst>
          <pc:docMk/>
          <pc:sldMk cId="2779312784" sldId="716"/>
        </pc:sldMkLst>
        <pc:spChg chg="del">
          <ac:chgData name="Alexandre Mercier" userId="b4fbace6-72ad-4592-b27d-535191bf0bec" providerId="ADAL" clId="{A258FCB8-1969-43B9-BB9C-CA2C54090BA9}" dt="2023-06-27T23:41:13.698" v="6875" actId="478"/>
          <ac:spMkLst>
            <pc:docMk/>
            <pc:sldMk cId="2779312784" sldId="716"/>
            <ac:spMk id="7" creationId="{0F39EEE2-7C41-DA2D-D5DF-5541BAD116F4}"/>
          </ac:spMkLst>
        </pc:spChg>
      </pc:sldChg>
      <pc:sldChg chg="addSp modSp mod">
        <pc:chgData name="Alexandre Mercier" userId="b4fbace6-72ad-4592-b27d-535191bf0bec" providerId="ADAL" clId="{A258FCB8-1969-43B9-BB9C-CA2C54090BA9}" dt="2023-06-26T09:56:22.946" v="3429" actId="6549"/>
        <pc:sldMkLst>
          <pc:docMk/>
          <pc:sldMk cId="1422883423" sldId="717"/>
        </pc:sldMkLst>
        <pc:spChg chg="mod">
          <ac:chgData name="Alexandre Mercier" userId="b4fbace6-72ad-4592-b27d-535191bf0bec" providerId="ADAL" clId="{A258FCB8-1969-43B9-BB9C-CA2C54090BA9}" dt="2023-06-26T01:13:17.215" v="1230" actId="948"/>
          <ac:spMkLst>
            <pc:docMk/>
            <pc:sldMk cId="1422883423" sldId="717"/>
            <ac:spMk id="2" creationId="{7867FC6D-2EA7-A489-B005-D72FDCE5350A}"/>
          </ac:spMkLst>
        </pc:spChg>
        <pc:spChg chg="mod">
          <ac:chgData name="Alexandre Mercier" userId="b4fbace6-72ad-4592-b27d-535191bf0bec" providerId="ADAL" clId="{A258FCB8-1969-43B9-BB9C-CA2C54090BA9}" dt="2023-06-26T09:56:22.946" v="3429" actId="6549"/>
          <ac:spMkLst>
            <pc:docMk/>
            <pc:sldMk cId="1422883423" sldId="717"/>
            <ac:spMk id="3" creationId="{2A6406F2-28F0-A47D-B1C2-B2A9699D4355}"/>
          </ac:spMkLst>
        </pc:spChg>
        <pc:graphicFrameChg chg="add mod ord modVis replST">
          <ac:chgData name="Alexandre Mercier" userId="b4fbace6-72ad-4592-b27d-535191bf0bec" providerId="ADAL" clId="{A258FCB8-1969-43B9-BB9C-CA2C54090BA9}" dt="2023-06-26T01:13:17.240" v="1247"/>
          <ac:graphicFrameMkLst>
            <pc:docMk/>
            <pc:sldMk cId="1422883423" sldId="717"/>
            <ac:graphicFrameMk id="8" creationId="{97C48D88-3CCD-3EDD-7873-DA99B0215070}"/>
          </ac:graphicFrameMkLst>
        </pc:graphicFrameChg>
      </pc:sldChg>
      <pc:sldChg chg="addSp delSp modSp mod delAnim modNotesTx">
        <pc:chgData name="Alexandre Mercier" userId="b4fbace6-72ad-4592-b27d-535191bf0bec" providerId="ADAL" clId="{A258FCB8-1969-43B9-BB9C-CA2C54090BA9}" dt="2023-06-27T23:30:25.145" v="6865" actId="20577"/>
        <pc:sldMkLst>
          <pc:docMk/>
          <pc:sldMk cId="4203255045" sldId="718"/>
        </pc:sldMkLst>
        <pc:spChg chg="mod">
          <ac:chgData name="Alexandre Mercier" userId="b4fbace6-72ad-4592-b27d-535191bf0bec" providerId="ADAL" clId="{A258FCB8-1969-43B9-BB9C-CA2C54090BA9}" dt="2023-06-26T10:12:27.642" v="3847" actId="1076"/>
          <ac:spMkLst>
            <pc:docMk/>
            <pc:sldMk cId="4203255045" sldId="718"/>
            <ac:spMk id="7" creationId="{EE271423-2E6F-36F7-EB41-2FC819A8D899}"/>
          </ac:spMkLst>
        </pc:spChg>
        <pc:spChg chg="mod">
          <ac:chgData name="Alexandre Mercier" userId="b4fbace6-72ad-4592-b27d-535191bf0bec" providerId="ADAL" clId="{A258FCB8-1969-43B9-BB9C-CA2C54090BA9}" dt="2023-06-26T10:12:24.341" v="3846" actId="1076"/>
          <ac:spMkLst>
            <pc:docMk/>
            <pc:sldMk cId="4203255045" sldId="718"/>
            <ac:spMk id="10" creationId="{C5D90285-68F7-E048-6DA2-8B57292BBA9E}"/>
          </ac:spMkLst>
        </pc:spChg>
        <pc:spChg chg="del">
          <ac:chgData name="Alexandre Mercier" userId="b4fbace6-72ad-4592-b27d-535191bf0bec" providerId="ADAL" clId="{A258FCB8-1969-43B9-BB9C-CA2C54090BA9}" dt="2023-06-26T09:31:57.860" v="2967" actId="21"/>
          <ac:spMkLst>
            <pc:docMk/>
            <pc:sldMk cId="4203255045" sldId="718"/>
            <ac:spMk id="22" creationId="{38752247-FBB5-E582-7E54-14912C60D8D5}"/>
          </ac:spMkLst>
        </pc:spChg>
        <pc:grpChg chg="del">
          <ac:chgData name="Alexandre Mercier" userId="b4fbace6-72ad-4592-b27d-535191bf0bec" providerId="ADAL" clId="{A258FCB8-1969-43B9-BB9C-CA2C54090BA9}" dt="2023-06-26T09:31:46.544" v="2965" actId="21"/>
          <ac:grpSpMkLst>
            <pc:docMk/>
            <pc:sldMk cId="4203255045" sldId="718"/>
            <ac:grpSpMk id="21" creationId="{5506EA56-0E32-B54D-99E8-C65FDD3D33C7}"/>
          </ac:grpSpMkLst>
        </pc:grpChg>
        <pc:graphicFrameChg chg="mod modGraphic">
          <ac:chgData name="Alexandre Mercier" userId="b4fbace6-72ad-4592-b27d-535191bf0bec" providerId="ADAL" clId="{A258FCB8-1969-43B9-BB9C-CA2C54090BA9}" dt="2023-06-26T10:12:20.018" v="3845" actId="1076"/>
          <ac:graphicFrameMkLst>
            <pc:docMk/>
            <pc:sldMk cId="4203255045" sldId="718"/>
            <ac:graphicFrameMk id="3" creationId="{F4242307-8DB7-AF63-6B92-9E53FAB97387}"/>
          </ac:graphicFrameMkLst>
        </pc:graphicFrameChg>
        <pc:graphicFrameChg chg="add del mod">
          <ac:chgData name="Alexandre Mercier" userId="b4fbace6-72ad-4592-b27d-535191bf0bec" providerId="ADAL" clId="{A258FCB8-1969-43B9-BB9C-CA2C54090BA9}" dt="2023-06-26T00:51:04.813" v="181"/>
          <ac:graphicFrameMkLst>
            <pc:docMk/>
            <pc:sldMk cId="4203255045" sldId="718"/>
            <ac:graphicFrameMk id="23" creationId="{66B88A17-6553-59BF-ADE4-F36B65858D4D}"/>
          </ac:graphicFrameMkLst>
        </pc:graphicFrameChg>
      </pc:sldChg>
      <pc:sldChg chg="modSp mod modTransition modShow modNotesTx">
        <pc:chgData name="Alexandre Mercier" userId="b4fbace6-72ad-4592-b27d-535191bf0bec" providerId="ADAL" clId="{A258FCB8-1969-43B9-BB9C-CA2C54090BA9}" dt="2023-06-27T23:05:45.153" v="6711"/>
        <pc:sldMkLst>
          <pc:docMk/>
          <pc:sldMk cId="1703764126" sldId="719"/>
        </pc:sldMkLst>
        <pc:graphicFrameChg chg="modGraphic">
          <ac:chgData name="Alexandre Mercier" userId="b4fbace6-72ad-4592-b27d-535191bf0bec" providerId="ADAL" clId="{A258FCB8-1969-43B9-BB9C-CA2C54090BA9}" dt="2023-06-26T10:13:12.292" v="3866" actId="20577"/>
          <ac:graphicFrameMkLst>
            <pc:docMk/>
            <pc:sldMk cId="1703764126" sldId="719"/>
            <ac:graphicFrameMk id="7" creationId="{353174E6-6237-DB4C-68B7-CB6EF2544F87}"/>
          </ac:graphicFrameMkLst>
        </pc:graphicFrameChg>
      </pc:sldChg>
      <pc:sldChg chg="addSp delSp modSp mod modAnim">
        <pc:chgData name="Alexandre Mercier" userId="b4fbace6-72ad-4592-b27d-535191bf0bec" providerId="ADAL" clId="{A258FCB8-1969-43B9-BB9C-CA2C54090BA9}" dt="2023-06-27T23:40:19.135" v="6874" actId="20577"/>
        <pc:sldMkLst>
          <pc:docMk/>
          <pc:sldMk cId="2063095769" sldId="720"/>
        </pc:sldMkLst>
        <pc:spChg chg="mod">
          <ac:chgData name="Alexandre Mercier" userId="b4fbace6-72ad-4592-b27d-535191bf0bec" providerId="ADAL" clId="{A258FCB8-1969-43B9-BB9C-CA2C54090BA9}" dt="2023-06-26T01:08:25.270" v="930" actId="948"/>
          <ac:spMkLst>
            <pc:docMk/>
            <pc:sldMk cId="2063095769" sldId="720"/>
            <ac:spMk id="2" creationId="{F6BC011C-B5B2-7D6E-6BA4-774C57C13EB5}"/>
          </ac:spMkLst>
        </pc:spChg>
        <pc:spChg chg="add del mod modVis">
          <ac:chgData name="Alexandre Mercier" userId="b4fbace6-72ad-4592-b27d-535191bf0bec" providerId="ADAL" clId="{A258FCB8-1969-43B9-BB9C-CA2C54090BA9}" dt="2023-06-26T01:08:24.726" v="926"/>
          <ac:spMkLst>
            <pc:docMk/>
            <pc:sldMk cId="2063095769" sldId="720"/>
            <ac:spMk id="8" creationId="{9BB8970A-B460-6B0A-5A3E-7A76C25C61CF}"/>
          </ac:spMkLst>
        </pc:spChg>
        <pc:spChg chg="add del mod modVis">
          <ac:chgData name="Alexandre Mercier" userId="b4fbace6-72ad-4592-b27d-535191bf0bec" providerId="ADAL" clId="{A258FCB8-1969-43B9-BB9C-CA2C54090BA9}" dt="2023-06-26T01:08:25.324" v="954"/>
          <ac:spMkLst>
            <pc:docMk/>
            <pc:sldMk cId="2063095769" sldId="720"/>
            <ac:spMk id="9" creationId="{1FC5CB93-1876-17D9-83CA-56B886938E08}"/>
          </ac:spMkLst>
        </pc:spChg>
        <pc:spChg chg="mod">
          <ac:chgData name="Alexandre Mercier" userId="b4fbace6-72ad-4592-b27d-535191bf0bec" providerId="ADAL" clId="{A258FCB8-1969-43B9-BB9C-CA2C54090BA9}" dt="2023-06-27T23:40:19.135" v="6874" actId="20577"/>
          <ac:spMkLst>
            <pc:docMk/>
            <pc:sldMk cId="2063095769" sldId="720"/>
            <ac:spMk id="23" creationId="{A5FD34A7-7A0B-DE26-225E-58B70B0BC3A9}"/>
          </ac:spMkLst>
        </pc:spChg>
        <pc:graphicFrameChg chg="mod">
          <ac:chgData name="Alexandre Mercier" userId="b4fbace6-72ad-4592-b27d-535191bf0bec" providerId="ADAL" clId="{A258FCB8-1969-43B9-BB9C-CA2C54090BA9}" dt="2023-06-26T01:08:25.326" v="956"/>
          <ac:graphicFrameMkLst>
            <pc:docMk/>
            <pc:sldMk cId="2063095769" sldId="720"/>
            <ac:graphicFrameMk id="17" creationId="{7A623C60-8533-63B3-D797-1270886DC363}"/>
          </ac:graphicFrameMkLst>
        </pc:graphicFrameChg>
      </pc:sldChg>
      <pc:sldChg chg="del">
        <pc:chgData name="Alexandre Mercier" userId="b4fbace6-72ad-4592-b27d-535191bf0bec" providerId="ADAL" clId="{A258FCB8-1969-43B9-BB9C-CA2C54090BA9}" dt="2023-06-26T01:08:35.873" v="957" actId="2696"/>
        <pc:sldMkLst>
          <pc:docMk/>
          <pc:sldMk cId="851057352" sldId="721"/>
        </pc:sldMkLst>
      </pc:sldChg>
      <pc:sldChg chg="addSp modSp new add mod ord modTransition modShow">
        <pc:chgData name="Alexandre Mercier" userId="b4fbace6-72ad-4592-b27d-535191bf0bec" providerId="ADAL" clId="{A258FCB8-1969-43B9-BB9C-CA2C54090BA9}" dt="2023-06-27T23:48:50.144" v="7062" actId="20577"/>
        <pc:sldMkLst>
          <pc:docMk/>
          <pc:sldMk cId="3010435880" sldId="721"/>
        </pc:sldMkLst>
        <pc:spChg chg="mod">
          <ac:chgData name="Alexandre Mercier" userId="b4fbace6-72ad-4592-b27d-535191bf0bec" providerId="ADAL" clId="{A258FCB8-1969-43B9-BB9C-CA2C54090BA9}" dt="2023-06-27T23:46:46.114" v="6958" actId="948"/>
          <ac:spMkLst>
            <pc:docMk/>
            <pc:sldMk cId="3010435880" sldId="721"/>
            <ac:spMk id="2" creationId="{90E7D471-2336-EE97-DCBD-B0E6EFA79E91}"/>
          </ac:spMkLst>
        </pc:spChg>
        <pc:spChg chg="mod">
          <ac:chgData name="Alexandre Mercier" userId="b4fbace6-72ad-4592-b27d-535191bf0bec" providerId="ADAL" clId="{A258FCB8-1969-43B9-BB9C-CA2C54090BA9}" dt="2023-06-27T23:48:50.144" v="7062" actId="20577"/>
          <ac:spMkLst>
            <pc:docMk/>
            <pc:sldMk cId="3010435880" sldId="721"/>
            <ac:spMk id="3" creationId="{F84AB998-3CB6-DFC1-7380-1399A6499949}"/>
          </ac:spMkLst>
        </pc:spChg>
        <pc:graphicFrameChg chg="add mod ord modVis replST">
          <ac:chgData name="Alexandre Mercier" userId="b4fbace6-72ad-4592-b27d-535191bf0bec" providerId="ADAL" clId="{A258FCB8-1969-43B9-BB9C-CA2C54090BA9}" dt="2023-06-27T23:46:46.119" v="6962"/>
          <ac:graphicFrameMkLst>
            <pc:docMk/>
            <pc:sldMk cId="3010435880" sldId="721"/>
            <ac:graphicFrameMk id="7" creationId="{E8C1DA42-DCA7-6CB5-5B04-57AEA547961F}"/>
          </ac:graphicFrameMkLst>
        </pc:graphicFrameChg>
      </pc:sldChg>
      <pc:sldChg chg="addSp delSp modSp new add mod">
        <pc:chgData name="Alexandre Mercier" userId="b4fbace6-72ad-4592-b27d-535191bf0bec" providerId="ADAL" clId="{A258FCB8-1969-43B9-BB9C-CA2C54090BA9}" dt="2023-06-26T07:37:07.013" v="1557"/>
        <pc:sldMkLst>
          <pc:docMk/>
          <pc:sldMk cId="3391490872" sldId="722"/>
        </pc:sldMkLst>
        <pc:spChg chg="mod ord">
          <ac:chgData name="Alexandre Mercier" userId="b4fbace6-72ad-4592-b27d-535191bf0bec" providerId="ADAL" clId="{A258FCB8-1969-43B9-BB9C-CA2C54090BA9}" dt="2023-06-26T07:37:06.982" v="1531" actId="948"/>
          <ac:spMkLst>
            <pc:docMk/>
            <pc:sldMk cId="3391490872" sldId="722"/>
            <ac:spMk id="2" creationId="{73B69A22-F92F-1A3A-3177-5D73BB424E27}"/>
          </ac:spMkLst>
        </pc:spChg>
        <pc:spChg chg="del">
          <ac:chgData name="Alexandre Mercier" userId="b4fbace6-72ad-4592-b27d-535191bf0bec" providerId="ADAL" clId="{A258FCB8-1969-43B9-BB9C-CA2C54090BA9}" dt="2023-06-26T07:32:19.139" v="1435" actId="478"/>
          <ac:spMkLst>
            <pc:docMk/>
            <pc:sldMk cId="3391490872" sldId="722"/>
            <ac:spMk id="3" creationId="{E1FF5488-6B98-7EF0-3E17-0E33262E7427}"/>
          </ac:spMkLst>
        </pc:spChg>
        <pc:spChg chg="mod ord">
          <ac:chgData name="Alexandre Mercier" userId="b4fbace6-72ad-4592-b27d-535191bf0bec" providerId="ADAL" clId="{A258FCB8-1969-43B9-BB9C-CA2C54090BA9}" dt="2023-06-26T07:35:56.617" v="1475"/>
          <ac:spMkLst>
            <pc:docMk/>
            <pc:sldMk cId="3391490872" sldId="722"/>
            <ac:spMk id="4" creationId="{C127A3FE-9661-2E5F-1B6B-64CB539CBBB8}"/>
          </ac:spMkLst>
        </pc:spChg>
        <pc:spChg chg="mod ord">
          <ac:chgData name="Alexandre Mercier" userId="b4fbace6-72ad-4592-b27d-535191bf0bec" providerId="ADAL" clId="{A258FCB8-1969-43B9-BB9C-CA2C54090BA9}" dt="2023-06-26T07:35:56.617" v="1477"/>
          <ac:spMkLst>
            <pc:docMk/>
            <pc:sldMk cId="3391490872" sldId="722"/>
            <ac:spMk id="5" creationId="{B808B200-29CA-56B5-21F1-FF17C006A96B}"/>
          </ac:spMkLst>
        </pc:spChg>
        <pc:spChg chg="mod ord">
          <ac:chgData name="Alexandre Mercier" userId="b4fbace6-72ad-4592-b27d-535191bf0bec" providerId="ADAL" clId="{A258FCB8-1969-43B9-BB9C-CA2C54090BA9}" dt="2023-06-26T07:35:56.617" v="1479"/>
          <ac:spMkLst>
            <pc:docMk/>
            <pc:sldMk cId="3391490872" sldId="722"/>
            <ac:spMk id="6" creationId="{FD9AD455-156D-1761-5D3F-AA8E021BC666}"/>
          </ac:spMkLst>
        </pc:spChg>
        <pc:spChg chg="add del mod modVis">
          <ac:chgData name="Alexandre Mercier" userId="b4fbace6-72ad-4592-b27d-535191bf0bec" providerId="ADAL" clId="{A258FCB8-1969-43B9-BB9C-CA2C54090BA9}" dt="2023-06-26T07:31:30.700" v="1428"/>
          <ac:spMkLst>
            <pc:docMk/>
            <pc:sldMk cId="3391490872" sldId="722"/>
            <ac:spMk id="8" creationId="{2756A65E-AE16-22C8-7313-BDDB03ECE71D}"/>
          </ac:spMkLst>
        </pc:spChg>
        <pc:spChg chg="add mod ord">
          <ac:chgData name="Alexandre Mercier" userId="b4fbace6-72ad-4592-b27d-535191bf0bec" providerId="ADAL" clId="{A258FCB8-1969-43B9-BB9C-CA2C54090BA9}" dt="2023-06-26T07:36:40.841" v="1512" actId="1076"/>
          <ac:spMkLst>
            <pc:docMk/>
            <pc:sldMk cId="3391490872" sldId="722"/>
            <ac:spMk id="9" creationId="{D9CF6209-E2B0-87C6-B718-091A9014A04C}"/>
          </ac:spMkLst>
        </pc:spChg>
        <pc:spChg chg="add mod ord">
          <ac:chgData name="Alexandre Mercier" userId="b4fbace6-72ad-4592-b27d-535191bf0bec" providerId="ADAL" clId="{A258FCB8-1969-43B9-BB9C-CA2C54090BA9}" dt="2023-06-26T07:36:40.841" v="1512" actId="1076"/>
          <ac:spMkLst>
            <pc:docMk/>
            <pc:sldMk cId="3391490872" sldId="722"/>
            <ac:spMk id="12" creationId="{599D62C8-676F-90C9-FBDA-0692F0885983}"/>
          </ac:spMkLst>
        </pc:spChg>
        <pc:spChg chg="add mod ord">
          <ac:chgData name="Alexandre Mercier" userId="b4fbace6-72ad-4592-b27d-535191bf0bec" providerId="ADAL" clId="{A258FCB8-1969-43B9-BB9C-CA2C54090BA9}" dt="2023-06-26T07:35:56.617" v="1491"/>
          <ac:spMkLst>
            <pc:docMk/>
            <pc:sldMk cId="3391490872" sldId="722"/>
            <ac:spMk id="14" creationId="{D950A357-196E-947A-DC91-907C08A0BBA3}"/>
          </ac:spMkLst>
        </pc:spChg>
        <pc:spChg chg="add mod ord">
          <ac:chgData name="Alexandre Mercier" userId="b4fbace6-72ad-4592-b27d-535191bf0bec" providerId="ADAL" clId="{A258FCB8-1969-43B9-BB9C-CA2C54090BA9}" dt="2023-06-26T07:35:56.632" v="1495"/>
          <ac:spMkLst>
            <pc:docMk/>
            <pc:sldMk cId="3391490872" sldId="722"/>
            <ac:spMk id="16" creationId="{D6ABC618-D771-2864-CBC0-78CFF6FB2705}"/>
          </ac:spMkLst>
        </pc:spChg>
        <pc:spChg chg="add mod ord">
          <ac:chgData name="Alexandre Mercier" userId="b4fbace6-72ad-4592-b27d-535191bf0bec" providerId="ADAL" clId="{A258FCB8-1969-43B9-BB9C-CA2C54090BA9}" dt="2023-06-26T07:36:40.841" v="1512" actId="1076"/>
          <ac:spMkLst>
            <pc:docMk/>
            <pc:sldMk cId="3391490872" sldId="722"/>
            <ac:spMk id="20" creationId="{86EA866A-9793-F85C-D8A8-084924B7AA85}"/>
          </ac:spMkLst>
        </pc:spChg>
        <pc:spChg chg="add del mod">
          <ac:chgData name="Alexandre Mercier" userId="b4fbace6-72ad-4592-b27d-535191bf0bec" providerId="ADAL" clId="{A258FCB8-1969-43B9-BB9C-CA2C54090BA9}" dt="2023-06-26T07:35:43.550" v="1464"/>
          <ac:spMkLst>
            <pc:docMk/>
            <pc:sldMk cId="3391490872" sldId="722"/>
            <ac:spMk id="21" creationId="{53378F39-7393-B1F2-9CCD-CEA46B225B7E}"/>
          </ac:spMkLst>
        </pc:spChg>
        <pc:spChg chg="add del mod modVis">
          <ac:chgData name="Alexandre Mercier" userId="b4fbace6-72ad-4592-b27d-535191bf0bec" providerId="ADAL" clId="{A258FCB8-1969-43B9-BB9C-CA2C54090BA9}" dt="2023-06-26T07:37:06.997" v="1555"/>
          <ac:spMkLst>
            <pc:docMk/>
            <pc:sldMk cId="3391490872" sldId="722"/>
            <ac:spMk id="24" creationId="{961F0644-A2CD-EEB3-A532-2E651DD82840}"/>
          </ac:spMkLst>
        </pc:spChg>
        <pc:graphicFrameChg chg="add mod ord modVis replST">
          <ac:chgData name="Alexandre Mercier" userId="b4fbace6-72ad-4592-b27d-535191bf0bec" providerId="ADAL" clId="{A258FCB8-1969-43B9-BB9C-CA2C54090BA9}" dt="2023-06-26T07:37:07.013" v="1557"/>
          <ac:graphicFrameMkLst>
            <pc:docMk/>
            <pc:sldMk cId="3391490872" sldId="722"/>
            <ac:graphicFrameMk id="7" creationId="{9E4352CA-F1A1-1E04-6343-C9880E2AD031}"/>
          </ac:graphicFrameMkLst>
        </pc:graphicFrameChg>
        <pc:picChg chg="add mod ord">
          <ac:chgData name="Alexandre Mercier" userId="b4fbace6-72ad-4592-b27d-535191bf0bec" providerId="ADAL" clId="{A258FCB8-1969-43B9-BB9C-CA2C54090BA9}" dt="2023-06-26T07:36:40.841" v="1512" actId="1076"/>
          <ac:picMkLst>
            <pc:docMk/>
            <pc:sldMk cId="3391490872" sldId="722"/>
            <ac:picMk id="10" creationId="{1153B36B-54D8-9AB7-352B-330BCE5B42FB}"/>
          </ac:picMkLst>
        </pc:picChg>
        <pc:picChg chg="add mod ord">
          <ac:chgData name="Alexandre Mercier" userId="b4fbace6-72ad-4592-b27d-535191bf0bec" providerId="ADAL" clId="{A258FCB8-1969-43B9-BB9C-CA2C54090BA9}" dt="2023-06-26T07:36:40.841" v="1512" actId="1076"/>
          <ac:picMkLst>
            <pc:docMk/>
            <pc:sldMk cId="3391490872" sldId="722"/>
            <ac:picMk id="11" creationId="{534F53C5-A3B6-0C86-C910-CE21005FBD1F}"/>
          </ac:picMkLst>
        </pc:picChg>
        <pc:picChg chg="add mod ord">
          <ac:chgData name="Alexandre Mercier" userId="b4fbace6-72ad-4592-b27d-535191bf0bec" providerId="ADAL" clId="{A258FCB8-1969-43B9-BB9C-CA2C54090BA9}" dt="2023-06-26T07:35:56.617" v="1493"/>
          <ac:picMkLst>
            <pc:docMk/>
            <pc:sldMk cId="3391490872" sldId="722"/>
            <ac:picMk id="15" creationId="{F094556F-FE31-9FC9-DC62-14A947DEA6AD}"/>
          </ac:picMkLst>
        </pc:picChg>
        <pc:picChg chg="add mod ord">
          <ac:chgData name="Alexandre Mercier" userId="b4fbace6-72ad-4592-b27d-535191bf0bec" providerId="ADAL" clId="{A258FCB8-1969-43B9-BB9C-CA2C54090BA9}" dt="2023-06-26T07:35:56.632" v="1497"/>
          <ac:picMkLst>
            <pc:docMk/>
            <pc:sldMk cId="3391490872" sldId="722"/>
            <ac:picMk id="17" creationId="{F275A0FE-71B1-64BB-C5FB-6233738A3D11}"/>
          </ac:picMkLst>
        </pc:picChg>
        <pc:picChg chg="add mod ord">
          <ac:chgData name="Alexandre Mercier" userId="b4fbace6-72ad-4592-b27d-535191bf0bec" providerId="ADAL" clId="{A258FCB8-1969-43B9-BB9C-CA2C54090BA9}" dt="2023-06-26T07:36:40.841" v="1512" actId="1076"/>
          <ac:picMkLst>
            <pc:docMk/>
            <pc:sldMk cId="3391490872" sldId="722"/>
            <ac:picMk id="23" creationId="{2DEEFD1C-EC53-D925-7D92-6BD777451D4F}"/>
          </ac:picMkLst>
        </pc:picChg>
        <pc:cxnChg chg="add mod ord">
          <ac:chgData name="Alexandre Mercier" userId="b4fbace6-72ad-4592-b27d-535191bf0bec" providerId="ADAL" clId="{A258FCB8-1969-43B9-BB9C-CA2C54090BA9}" dt="2023-06-26T07:35:56.617" v="1489"/>
          <ac:cxnSpMkLst>
            <pc:docMk/>
            <pc:sldMk cId="3391490872" sldId="722"/>
            <ac:cxnSpMk id="13" creationId="{FFE08CC6-7D85-E713-70C5-929EB4BDD10A}"/>
          </ac:cxnSpMkLst>
        </pc:cxnChg>
      </pc:sldChg>
      <pc:sldChg chg="addSp delSp modSp add mod ord modTransition modShow modNotesTx">
        <pc:chgData name="Alexandre Mercier" userId="b4fbace6-72ad-4592-b27d-535191bf0bec" providerId="ADAL" clId="{A258FCB8-1969-43B9-BB9C-CA2C54090BA9}" dt="2023-06-27T21:14:19.706" v="6341"/>
        <pc:sldMkLst>
          <pc:docMk/>
          <pc:sldMk cId="2475798273" sldId="723"/>
        </pc:sldMkLst>
        <pc:spChg chg="del">
          <ac:chgData name="Alexandre Mercier" userId="b4fbace6-72ad-4592-b27d-535191bf0bec" providerId="ADAL" clId="{A258FCB8-1969-43B9-BB9C-CA2C54090BA9}" dt="2023-06-26T07:54:47.296" v="2247" actId="478"/>
          <ac:spMkLst>
            <pc:docMk/>
            <pc:sldMk cId="2475798273" sldId="723"/>
            <ac:spMk id="3" creationId="{F84AB998-3CB6-DFC1-7380-1399A6499949}"/>
          </ac:spMkLst>
        </pc:spChg>
        <pc:spChg chg="add del mod">
          <ac:chgData name="Alexandre Mercier" userId="b4fbace6-72ad-4592-b27d-535191bf0bec" providerId="ADAL" clId="{A258FCB8-1969-43B9-BB9C-CA2C54090BA9}" dt="2023-06-26T08:51:17.180" v="2248"/>
          <ac:spMkLst>
            <pc:docMk/>
            <pc:sldMk cId="2475798273" sldId="723"/>
            <ac:spMk id="9" creationId="{903A9962-53FC-DBFE-229D-F9B4C0DCBD2D}"/>
          </ac:spMkLst>
        </pc:spChg>
        <pc:spChg chg="add mod">
          <ac:chgData name="Alexandre Mercier" userId="b4fbace6-72ad-4592-b27d-535191bf0bec" providerId="ADAL" clId="{A258FCB8-1969-43B9-BB9C-CA2C54090BA9}" dt="2023-06-26T08:55:44.431" v="2259" actId="1076"/>
          <ac:spMkLst>
            <pc:docMk/>
            <pc:sldMk cId="2475798273" sldId="723"/>
            <ac:spMk id="13" creationId="{3B9F71FE-3751-640B-34E9-BC28FDBD4BC1}"/>
          </ac:spMkLst>
        </pc:spChg>
        <pc:picChg chg="add mod">
          <ac:chgData name="Alexandre Mercier" userId="b4fbace6-72ad-4592-b27d-535191bf0bec" providerId="ADAL" clId="{A258FCB8-1969-43B9-BB9C-CA2C54090BA9}" dt="2023-06-26T08:55:39.613" v="2258" actId="1076"/>
          <ac:picMkLst>
            <pc:docMk/>
            <pc:sldMk cId="2475798273" sldId="723"/>
            <ac:picMk id="11" creationId="{06A2760D-42CA-26A7-6847-94AFB4551DCB}"/>
          </ac:picMkLst>
        </pc:picChg>
      </pc:sldChg>
      <pc:sldChg chg="addSp delSp modSp new add mod ord modNotesTx">
        <pc:chgData name="Alexandre Mercier" userId="b4fbace6-72ad-4592-b27d-535191bf0bec" providerId="ADAL" clId="{A258FCB8-1969-43B9-BB9C-CA2C54090BA9}" dt="2023-06-27T21:00:13.719" v="5751"/>
        <pc:sldMkLst>
          <pc:docMk/>
          <pc:sldMk cId="675103612" sldId="724"/>
        </pc:sldMkLst>
        <pc:spChg chg="mod">
          <ac:chgData name="Alexandre Mercier" userId="b4fbace6-72ad-4592-b27d-535191bf0bec" providerId="ADAL" clId="{A258FCB8-1969-43B9-BB9C-CA2C54090BA9}" dt="2023-06-26T08:59:32.119" v="2393" actId="948"/>
          <ac:spMkLst>
            <pc:docMk/>
            <pc:sldMk cId="675103612" sldId="724"/>
            <ac:spMk id="2" creationId="{25D6F9F1-3041-49EC-9A8B-42CF90A30519}"/>
          </ac:spMkLst>
        </pc:spChg>
        <pc:spChg chg="mod">
          <ac:chgData name="Alexandre Mercier" userId="b4fbace6-72ad-4592-b27d-535191bf0bec" providerId="ADAL" clId="{A258FCB8-1969-43B9-BB9C-CA2C54090BA9}" dt="2023-06-27T20:34:12.145" v="5282" actId="20577"/>
          <ac:spMkLst>
            <pc:docMk/>
            <pc:sldMk cId="675103612" sldId="724"/>
            <ac:spMk id="3" creationId="{61B6FAAE-A45C-6722-DC6E-9AA22F02C471}"/>
          </ac:spMkLst>
        </pc:spChg>
        <pc:spChg chg="add del mod">
          <ac:chgData name="Alexandre Mercier" userId="b4fbace6-72ad-4592-b27d-535191bf0bec" providerId="ADAL" clId="{A258FCB8-1969-43B9-BB9C-CA2C54090BA9}" dt="2023-06-27T20:34:09.315" v="5281" actId="478"/>
          <ac:spMkLst>
            <pc:docMk/>
            <pc:sldMk cId="675103612" sldId="724"/>
            <ac:spMk id="8" creationId="{00B315DA-9BCF-7699-AAF9-4927FAAD10C7}"/>
          </ac:spMkLst>
        </pc:spChg>
        <pc:spChg chg="add del mod">
          <ac:chgData name="Alexandre Mercier" userId="b4fbace6-72ad-4592-b27d-535191bf0bec" providerId="ADAL" clId="{A258FCB8-1969-43B9-BB9C-CA2C54090BA9}" dt="2023-06-27T20:32:06.820" v="5278" actId="478"/>
          <ac:spMkLst>
            <pc:docMk/>
            <pc:sldMk cId="675103612" sldId="724"/>
            <ac:spMk id="9" creationId="{FC808DE8-E882-D41C-231A-94FE2C0AA0A1}"/>
          </ac:spMkLst>
        </pc:spChg>
        <pc:spChg chg="add del mod">
          <ac:chgData name="Alexandre Mercier" userId="b4fbace6-72ad-4592-b27d-535191bf0bec" providerId="ADAL" clId="{A258FCB8-1969-43B9-BB9C-CA2C54090BA9}" dt="2023-06-27T20:32:09.576" v="5279" actId="478"/>
          <ac:spMkLst>
            <pc:docMk/>
            <pc:sldMk cId="675103612" sldId="724"/>
            <ac:spMk id="10" creationId="{B015F920-0A34-C962-CC79-D99D8613DD28}"/>
          </ac:spMkLst>
        </pc:spChg>
        <pc:spChg chg="add del mod">
          <ac:chgData name="Alexandre Mercier" userId="b4fbace6-72ad-4592-b27d-535191bf0bec" providerId="ADAL" clId="{A258FCB8-1969-43B9-BB9C-CA2C54090BA9}" dt="2023-06-27T20:32:12.224" v="5280" actId="478"/>
          <ac:spMkLst>
            <pc:docMk/>
            <pc:sldMk cId="675103612" sldId="724"/>
            <ac:spMk id="11" creationId="{2777BA70-E925-F263-FE3C-AA9A7F59FA01}"/>
          </ac:spMkLst>
        </pc:spChg>
        <pc:spChg chg="add del mod">
          <ac:chgData name="Alexandre Mercier" userId="b4fbace6-72ad-4592-b27d-535191bf0bec" providerId="ADAL" clId="{A258FCB8-1969-43B9-BB9C-CA2C54090BA9}" dt="2023-06-27T20:31:28.685" v="5273"/>
          <ac:spMkLst>
            <pc:docMk/>
            <pc:sldMk cId="675103612" sldId="724"/>
            <ac:spMk id="12" creationId="{AD649CC9-073D-C19D-7C45-A18A6497B8F2}"/>
          </ac:spMkLst>
        </pc:spChg>
        <pc:spChg chg="add mod">
          <ac:chgData name="Alexandre Mercier" userId="b4fbace6-72ad-4592-b27d-535191bf0bec" providerId="ADAL" clId="{A258FCB8-1969-43B9-BB9C-CA2C54090BA9}" dt="2023-06-27T20:35:09.861" v="5301" actId="1076"/>
          <ac:spMkLst>
            <pc:docMk/>
            <pc:sldMk cId="675103612" sldId="724"/>
            <ac:spMk id="13" creationId="{CED14702-A5EB-565F-E34D-088D4E6BB4F7}"/>
          </ac:spMkLst>
        </pc:spChg>
        <pc:spChg chg="add mod">
          <ac:chgData name="Alexandre Mercier" userId="b4fbace6-72ad-4592-b27d-535191bf0bec" providerId="ADAL" clId="{A258FCB8-1969-43B9-BB9C-CA2C54090BA9}" dt="2023-06-27T20:56:18.749" v="5666" actId="692"/>
          <ac:spMkLst>
            <pc:docMk/>
            <pc:sldMk cId="675103612" sldId="724"/>
            <ac:spMk id="14" creationId="{8FE0A170-A10C-B7A7-6A43-46FD5AD92638}"/>
          </ac:spMkLst>
        </pc:spChg>
        <pc:spChg chg="add mod">
          <ac:chgData name="Alexandre Mercier" userId="b4fbace6-72ad-4592-b27d-535191bf0bec" providerId="ADAL" clId="{A258FCB8-1969-43B9-BB9C-CA2C54090BA9}" dt="2023-06-27T20:56:55.875" v="5679" actId="1076"/>
          <ac:spMkLst>
            <pc:docMk/>
            <pc:sldMk cId="675103612" sldId="724"/>
            <ac:spMk id="15" creationId="{BFDBB182-56C7-2CE2-C3EE-0A0105092B30}"/>
          </ac:spMkLst>
        </pc:spChg>
        <pc:graphicFrameChg chg="add mod ord modVis replST">
          <ac:chgData name="Alexandre Mercier" userId="b4fbace6-72ad-4592-b27d-535191bf0bec" providerId="ADAL" clId="{A258FCB8-1969-43B9-BB9C-CA2C54090BA9}" dt="2023-06-26T08:59:32.150" v="2410"/>
          <ac:graphicFrameMkLst>
            <pc:docMk/>
            <pc:sldMk cId="675103612" sldId="724"/>
            <ac:graphicFrameMk id="7" creationId="{D450457B-8CDE-2972-D505-41E8E78EA83E}"/>
          </ac:graphicFrameMkLst>
        </pc:graphicFrameChg>
      </pc:sldChg>
      <pc:sldChg chg="addSp delSp modSp new add mod delAnim modAnim modNotesTx">
        <pc:chgData name="Alexandre Mercier" userId="b4fbace6-72ad-4592-b27d-535191bf0bec" providerId="ADAL" clId="{A258FCB8-1969-43B9-BB9C-CA2C54090BA9}" dt="2023-06-27T23:46:14.813" v="6951" actId="20577"/>
        <pc:sldMkLst>
          <pc:docMk/>
          <pc:sldMk cId="2104506543" sldId="725"/>
        </pc:sldMkLst>
        <pc:spChg chg="mod">
          <ac:chgData name="Alexandre Mercier" userId="b4fbace6-72ad-4592-b27d-535191bf0bec" providerId="ADAL" clId="{A258FCB8-1969-43B9-BB9C-CA2C54090BA9}" dt="2023-06-26T09:31:38.998" v="2938" actId="948"/>
          <ac:spMkLst>
            <pc:docMk/>
            <pc:sldMk cId="2104506543" sldId="725"/>
            <ac:spMk id="2" creationId="{295E5737-90A3-DD51-6FF0-6C031025BE0D}"/>
          </ac:spMkLst>
        </pc:spChg>
        <pc:spChg chg="mod">
          <ac:chgData name="Alexandre Mercier" userId="b4fbace6-72ad-4592-b27d-535191bf0bec" providerId="ADAL" clId="{A258FCB8-1969-43B9-BB9C-CA2C54090BA9}" dt="2023-06-27T21:30:06.311" v="6418" actId="27636"/>
          <ac:spMkLst>
            <pc:docMk/>
            <pc:sldMk cId="2104506543" sldId="725"/>
            <ac:spMk id="3" creationId="{B8F0847E-424B-CF57-4BC4-90E7D4C63296}"/>
          </ac:spMkLst>
        </pc:spChg>
        <pc:spChg chg="add del mod modVis">
          <ac:chgData name="Alexandre Mercier" userId="b4fbace6-72ad-4592-b27d-535191bf0bec" providerId="ADAL" clId="{A258FCB8-1969-43B9-BB9C-CA2C54090BA9}" dt="2023-06-26T09:31:39.014" v="2962"/>
          <ac:spMkLst>
            <pc:docMk/>
            <pc:sldMk cId="2104506543" sldId="725"/>
            <ac:spMk id="8" creationId="{0DEFA8A9-38AC-60C1-CE62-BC2E796D1CD2}"/>
          </ac:spMkLst>
        </pc:spChg>
        <pc:spChg chg="mod">
          <ac:chgData name="Alexandre Mercier" userId="b4fbace6-72ad-4592-b27d-535191bf0bec" providerId="ADAL" clId="{A258FCB8-1969-43B9-BB9C-CA2C54090BA9}" dt="2023-06-26T09:31:50.128" v="2966"/>
          <ac:spMkLst>
            <pc:docMk/>
            <pc:sldMk cId="2104506543" sldId="725"/>
            <ac:spMk id="10" creationId="{D085790B-B699-4D28-98A0-6B48803E9DE6}"/>
          </ac:spMkLst>
        </pc:spChg>
        <pc:spChg chg="mod">
          <ac:chgData name="Alexandre Mercier" userId="b4fbace6-72ad-4592-b27d-535191bf0bec" providerId="ADAL" clId="{A258FCB8-1969-43B9-BB9C-CA2C54090BA9}" dt="2023-06-26T09:31:50.128" v="2966"/>
          <ac:spMkLst>
            <pc:docMk/>
            <pc:sldMk cId="2104506543" sldId="725"/>
            <ac:spMk id="11" creationId="{9FE336B6-C4EE-7F70-5B23-DF893A0A4A1E}"/>
          </ac:spMkLst>
        </pc:spChg>
        <pc:spChg chg="mod">
          <ac:chgData name="Alexandre Mercier" userId="b4fbace6-72ad-4592-b27d-535191bf0bec" providerId="ADAL" clId="{A258FCB8-1969-43B9-BB9C-CA2C54090BA9}" dt="2023-06-26T09:31:50.128" v="2966"/>
          <ac:spMkLst>
            <pc:docMk/>
            <pc:sldMk cId="2104506543" sldId="725"/>
            <ac:spMk id="12" creationId="{2FCC95BD-ACC1-4212-19FA-27D4E42E2D05}"/>
          </ac:spMkLst>
        </pc:spChg>
        <pc:spChg chg="mod">
          <ac:chgData name="Alexandre Mercier" userId="b4fbace6-72ad-4592-b27d-535191bf0bec" providerId="ADAL" clId="{A258FCB8-1969-43B9-BB9C-CA2C54090BA9}" dt="2023-06-26T09:31:50.128" v="2966"/>
          <ac:spMkLst>
            <pc:docMk/>
            <pc:sldMk cId="2104506543" sldId="725"/>
            <ac:spMk id="14" creationId="{A07B1D4B-DDC3-9BE0-6B07-114F00A86E4F}"/>
          </ac:spMkLst>
        </pc:spChg>
        <pc:spChg chg="mod">
          <ac:chgData name="Alexandre Mercier" userId="b4fbace6-72ad-4592-b27d-535191bf0bec" providerId="ADAL" clId="{A258FCB8-1969-43B9-BB9C-CA2C54090BA9}" dt="2023-06-26T09:31:50.128" v="2966"/>
          <ac:spMkLst>
            <pc:docMk/>
            <pc:sldMk cId="2104506543" sldId="725"/>
            <ac:spMk id="15" creationId="{FCDDC5D8-ECC1-4349-C53C-A2A5AA595A6D}"/>
          </ac:spMkLst>
        </pc:spChg>
        <pc:spChg chg="mod">
          <ac:chgData name="Alexandre Mercier" userId="b4fbace6-72ad-4592-b27d-535191bf0bec" providerId="ADAL" clId="{A258FCB8-1969-43B9-BB9C-CA2C54090BA9}" dt="2023-06-26T09:31:50.128" v="2966"/>
          <ac:spMkLst>
            <pc:docMk/>
            <pc:sldMk cId="2104506543" sldId="725"/>
            <ac:spMk id="16" creationId="{D280D026-8BD1-743A-D677-BAA03D9C8E87}"/>
          </ac:spMkLst>
        </pc:spChg>
        <pc:spChg chg="mod">
          <ac:chgData name="Alexandre Mercier" userId="b4fbace6-72ad-4592-b27d-535191bf0bec" providerId="ADAL" clId="{A258FCB8-1969-43B9-BB9C-CA2C54090BA9}" dt="2023-06-26T09:31:50.128" v="2966"/>
          <ac:spMkLst>
            <pc:docMk/>
            <pc:sldMk cId="2104506543" sldId="725"/>
            <ac:spMk id="17" creationId="{59FD81FC-90C9-621A-33CC-3775824D38B8}"/>
          </ac:spMkLst>
        </pc:spChg>
        <pc:spChg chg="mod">
          <ac:chgData name="Alexandre Mercier" userId="b4fbace6-72ad-4592-b27d-535191bf0bec" providerId="ADAL" clId="{A258FCB8-1969-43B9-BB9C-CA2C54090BA9}" dt="2023-06-26T09:31:50.128" v="2966"/>
          <ac:spMkLst>
            <pc:docMk/>
            <pc:sldMk cId="2104506543" sldId="725"/>
            <ac:spMk id="18" creationId="{8AE837CE-EA42-E09B-3F31-FA00A81AD483}"/>
          </ac:spMkLst>
        </pc:spChg>
        <pc:spChg chg="mod">
          <ac:chgData name="Alexandre Mercier" userId="b4fbace6-72ad-4592-b27d-535191bf0bec" providerId="ADAL" clId="{A258FCB8-1969-43B9-BB9C-CA2C54090BA9}" dt="2023-06-26T09:31:50.128" v="2966"/>
          <ac:spMkLst>
            <pc:docMk/>
            <pc:sldMk cId="2104506543" sldId="725"/>
            <ac:spMk id="19" creationId="{FD700C16-2809-ACEB-16D0-1A31E6DB15F9}"/>
          </ac:spMkLst>
        </pc:spChg>
        <pc:spChg chg="mod">
          <ac:chgData name="Alexandre Mercier" userId="b4fbace6-72ad-4592-b27d-535191bf0bec" providerId="ADAL" clId="{A258FCB8-1969-43B9-BB9C-CA2C54090BA9}" dt="2023-06-26T09:31:50.128" v="2966"/>
          <ac:spMkLst>
            <pc:docMk/>
            <pc:sldMk cId="2104506543" sldId="725"/>
            <ac:spMk id="20" creationId="{25F8BDC2-6028-19CA-5D37-7627B3AAEAF9}"/>
          </ac:spMkLst>
        </pc:spChg>
        <pc:spChg chg="add del mod">
          <ac:chgData name="Alexandre Mercier" userId="b4fbace6-72ad-4592-b27d-535191bf0bec" providerId="ADAL" clId="{A258FCB8-1969-43B9-BB9C-CA2C54090BA9}" dt="2023-06-26T10:09:43.466" v="3825" actId="478"/>
          <ac:spMkLst>
            <pc:docMk/>
            <pc:sldMk cId="2104506543" sldId="725"/>
            <ac:spMk id="21" creationId="{0128D6A5-B0C2-6B15-69B8-B0FF1C20F4EB}"/>
          </ac:spMkLst>
        </pc:spChg>
        <pc:spChg chg="add del mod">
          <ac:chgData name="Alexandre Mercier" userId="b4fbace6-72ad-4592-b27d-535191bf0bec" providerId="ADAL" clId="{A258FCB8-1969-43B9-BB9C-CA2C54090BA9}" dt="2023-06-26T10:09:34.943" v="3823" actId="478"/>
          <ac:spMkLst>
            <pc:docMk/>
            <pc:sldMk cId="2104506543" sldId="725"/>
            <ac:spMk id="23" creationId="{F32E87ED-0D89-15C5-E28C-27F2163E2C67}"/>
          </ac:spMkLst>
        </pc:spChg>
        <pc:spChg chg="add del mod">
          <ac:chgData name="Alexandre Mercier" userId="b4fbace6-72ad-4592-b27d-535191bf0bec" providerId="ADAL" clId="{A258FCB8-1969-43B9-BB9C-CA2C54090BA9}" dt="2023-06-26T10:09:39.596" v="3824" actId="478"/>
          <ac:spMkLst>
            <pc:docMk/>
            <pc:sldMk cId="2104506543" sldId="725"/>
            <ac:spMk id="24" creationId="{5C41D0A6-19DF-96C0-A4D2-A00CD0CB62E6}"/>
          </ac:spMkLst>
        </pc:spChg>
        <pc:grpChg chg="add mod">
          <ac:chgData name="Alexandre Mercier" userId="b4fbace6-72ad-4592-b27d-535191bf0bec" providerId="ADAL" clId="{A258FCB8-1969-43B9-BB9C-CA2C54090BA9}" dt="2023-06-26T10:09:46.765" v="3826" actId="1076"/>
          <ac:grpSpMkLst>
            <pc:docMk/>
            <pc:sldMk cId="2104506543" sldId="725"/>
            <ac:grpSpMk id="9" creationId="{CA5E3B2F-084E-357D-92E0-BAE46ED4AA40}"/>
          </ac:grpSpMkLst>
        </pc:grpChg>
        <pc:grpChg chg="mod">
          <ac:chgData name="Alexandre Mercier" userId="b4fbace6-72ad-4592-b27d-535191bf0bec" providerId="ADAL" clId="{A258FCB8-1969-43B9-BB9C-CA2C54090BA9}" dt="2023-06-26T09:31:50.128" v="2966"/>
          <ac:grpSpMkLst>
            <pc:docMk/>
            <pc:sldMk cId="2104506543" sldId="725"/>
            <ac:grpSpMk id="13" creationId="{79FCF5DD-60A0-9459-E7E3-64E43419C0B8}"/>
          </ac:grpSpMkLst>
        </pc:grpChg>
        <pc:graphicFrameChg chg="add mod ord modVis replST">
          <ac:chgData name="Alexandre Mercier" userId="b4fbace6-72ad-4592-b27d-535191bf0bec" providerId="ADAL" clId="{A258FCB8-1969-43B9-BB9C-CA2C54090BA9}" dt="2023-06-26T09:31:39.030" v="2964"/>
          <ac:graphicFrameMkLst>
            <pc:docMk/>
            <pc:sldMk cId="2104506543" sldId="725"/>
            <ac:graphicFrameMk id="7" creationId="{DA4C8BDC-EF50-C589-9FB8-6A0504C74339}"/>
          </ac:graphicFrameMkLst>
        </pc:graphicFrameChg>
        <pc:graphicFrameChg chg="add mod modGraphic">
          <ac:chgData name="Alexandre Mercier" userId="b4fbace6-72ad-4592-b27d-535191bf0bec" providerId="ADAL" clId="{A258FCB8-1969-43B9-BB9C-CA2C54090BA9}" dt="2023-06-27T23:44:45.846" v="6880" actId="20577"/>
          <ac:graphicFrameMkLst>
            <pc:docMk/>
            <pc:sldMk cId="2104506543" sldId="725"/>
            <ac:graphicFrameMk id="25" creationId="{0FD060C9-70E6-282C-8DC7-B9E0C612A0AB}"/>
          </ac:graphicFrameMkLst>
        </pc:graphicFrameChg>
      </pc:sldChg>
      <pc:sldChg chg="modSp add mod">
        <pc:chgData name="Alexandre Mercier" userId="b4fbace6-72ad-4592-b27d-535191bf0bec" providerId="ADAL" clId="{A258FCB8-1969-43B9-BB9C-CA2C54090BA9}" dt="2023-06-27T21:58:09.110" v="6654" actId="20577"/>
        <pc:sldMkLst>
          <pc:docMk/>
          <pc:sldMk cId="1010607694" sldId="726"/>
        </pc:sldMkLst>
        <pc:spChg chg="mod">
          <ac:chgData name="Alexandre Mercier" userId="b4fbace6-72ad-4592-b27d-535191bf0bec" providerId="ADAL" clId="{A258FCB8-1969-43B9-BB9C-CA2C54090BA9}" dt="2023-06-27T21:58:09.110" v="6654" actId="20577"/>
          <ac:spMkLst>
            <pc:docMk/>
            <pc:sldMk cId="1010607694" sldId="726"/>
            <ac:spMk id="3" creationId="{00000000-0000-0000-0000-000000000000}"/>
          </ac:spMkLst>
        </pc:spChg>
        <pc:spChg chg="mod">
          <ac:chgData name="Alexandre Mercier" userId="b4fbace6-72ad-4592-b27d-535191bf0bec" providerId="ADAL" clId="{A258FCB8-1969-43B9-BB9C-CA2C54090BA9}" dt="2023-06-26T10:11:47.853" v="3841" actId="1076"/>
          <ac:spMkLst>
            <pc:docMk/>
            <pc:sldMk cId="1010607694" sldId="726"/>
            <ac:spMk id="7" creationId="{00000000-0000-0000-0000-000000000000}"/>
          </ac:spMkLst>
        </pc:spChg>
      </pc:sldChg>
      <pc:sldChg chg="modSp add mod">
        <pc:chgData name="Alexandre Mercier" userId="b4fbace6-72ad-4592-b27d-535191bf0bec" providerId="ADAL" clId="{A258FCB8-1969-43B9-BB9C-CA2C54090BA9}" dt="2023-06-27T21:58:39.516" v="6680" actId="20577"/>
        <pc:sldMkLst>
          <pc:docMk/>
          <pc:sldMk cId="1676347534" sldId="727"/>
        </pc:sldMkLst>
        <pc:spChg chg="mod">
          <ac:chgData name="Alexandre Mercier" userId="b4fbace6-72ad-4592-b27d-535191bf0bec" providerId="ADAL" clId="{A258FCB8-1969-43B9-BB9C-CA2C54090BA9}" dt="2023-06-27T21:58:39.516" v="6680" actId="20577"/>
          <ac:spMkLst>
            <pc:docMk/>
            <pc:sldMk cId="1676347534" sldId="727"/>
            <ac:spMk id="3" creationId="{00000000-0000-0000-0000-000000000000}"/>
          </ac:spMkLst>
        </pc:spChg>
        <pc:spChg chg="mod">
          <ac:chgData name="Alexandre Mercier" userId="b4fbace6-72ad-4592-b27d-535191bf0bec" providerId="ADAL" clId="{A258FCB8-1969-43B9-BB9C-CA2C54090BA9}" dt="2023-06-26T10:12:04.563" v="3844" actId="1076"/>
          <ac:spMkLst>
            <pc:docMk/>
            <pc:sldMk cId="1676347534" sldId="727"/>
            <ac:spMk id="7" creationId="{00000000-0000-0000-0000-000000000000}"/>
          </ac:spMkLst>
        </pc:spChg>
      </pc:sldChg>
      <pc:sldChg chg="modSp add mod">
        <pc:chgData name="Alexandre Mercier" userId="b4fbace6-72ad-4592-b27d-535191bf0bec" providerId="ADAL" clId="{A258FCB8-1969-43B9-BB9C-CA2C54090BA9}" dt="2023-06-27T21:58:48.569" v="6695" actId="20577"/>
        <pc:sldMkLst>
          <pc:docMk/>
          <pc:sldMk cId="2598758335" sldId="728"/>
        </pc:sldMkLst>
        <pc:spChg chg="mod">
          <ac:chgData name="Alexandre Mercier" userId="b4fbace6-72ad-4592-b27d-535191bf0bec" providerId="ADAL" clId="{A258FCB8-1969-43B9-BB9C-CA2C54090BA9}" dt="2023-06-27T21:58:48.569" v="6695" actId="20577"/>
          <ac:spMkLst>
            <pc:docMk/>
            <pc:sldMk cId="2598758335" sldId="728"/>
            <ac:spMk id="3" creationId="{00000000-0000-0000-0000-000000000000}"/>
          </ac:spMkLst>
        </pc:spChg>
        <pc:spChg chg="mod">
          <ac:chgData name="Alexandre Mercier" userId="b4fbace6-72ad-4592-b27d-535191bf0bec" providerId="ADAL" clId="{A258FCB8-1969-43B9-BB9C-CA2C54090BA9}" dt="2023-06-26T10:12:47.626" v="3850" actId="1076"/>
          <ac:spMkLst>
            <pc:docMk/>
            <pc:sldMk cId="2598758335" sldId="728"/>
            <ac:spMk id="7" creationId="{00000000-0000-0000-0000-000000000000}"/>
          </ac:spMkLst>
        </pc:spChg>
      </pc:sldChg>
      <pc:sldChg chg="addSp delSp modSp new add mod ord modNotesTx">
        <pc:chgData name="Alexandre Mercier" userId="b4fbace6-72ad-4592-b27d-535191bf0bec" providerId="ADAL" clId="{A258FCB8-1969-43B9-BB9C-CA2C54090BA9}" dt="2023-06-28T10:22:20.600" v="7836" actId="20577"/>
        <pc:sldMkLst>
          <pc:docMk/>
          <pc:sldMk cId="2201654359" sldId="729"/>
        </pc:sldMkLst>
        <pc:spChg chg="mod">
          <ac:chgData name="Alexandre Mercier" userId="b4fbace6-72ad-4592-b27d-535191bf0bec" providerId="ADAL" clId="{A258FCB8-1969-43B9-BB9C-CA2C54090BA9}" dt="2023-06-27T15:36:30.184" v="4380" actId="948"/>
          <ac:spMkLst>
            <pc:docMk/>
            <pc:sldMk cId="2201654359" sldId="729"/>
            <ac:spMk id="2" creationId="{BA2FE03D-328F-AA7C-7DC4-BB3F1D2BB985}"/>
          </ac:spMkLst>
        </pc:spChg>
        <pc:spChg chg="del">
          <ac:chgData name="Alexandre Mercier" userId="b4fbace6-72ad-4592-b27d-535191bf0bec" providerId="ADAL" clId="{A258FCB8-1969-43B9-BB9C-CA2C54090BA9}" dt="2023-06-27T15:34:01.969" v="4222" actId="478"/>
          <ac:spMkLst>
            <pc:docMk/>
            <pc:sldMk cId="2201654359" sldId="729"/>
            <ac:spMk id="3" creationId="{EE0C256B-8084-2973-01BE-46A831F821D2}"/>
          </ac:spMkLst>
        </pc:spChg>
        <pc:spChg chg="add del mod modVis">
          <ac:chgData name="Alexandre Mercier" userId="b4fbace6-72ad-4592-b27d-535191bf0bec" providerId="ADAL" clId="{A258FCB8-1969-43B9-BB9C-CA2C54090BA9}" dt="2023-06-27T15:36:14.270" v="4267"/>
          <ac:spMkLst>
            <pc:docMk/>
            <pc:sldMk cId="2201654359" sldId="729"/>
            <ac:spMk id="13" creationId="{9DE766E7-283E-AAB4-08E2-A22CEA311D97}"/>
          </ac:spMkLst>
        </pc:spChg>
        <pc:spChg chg="add del mod modVis">
          <ac:chgData name="Alexandre Mercier" userId="b4fbace6-72ad-4592-b27d-535191bf0bec" providerId="ADAL" clId="{A258FCB8-1969-43B9-BB9C-CA2C54090BA9}" dt="2023-06-27T15:36:15.661" v="4311"/>
          <ac:spMkLst>
            <pc:docMk/>
            <pc:sldMk cId="2201654359" sldId="729"/>
            <ac:spMk id="15" creationId="{9A72174B-3206-2D1D-052E-5A62E64E9340}"/>
          </ac:spMkLst>
        </pc:spChg>
        <pc:spChg chg="add del mod modVis">
          <ac:chgData name="Alexandre Mercier" userId="b4fbace6-72ad-4592-b27d-535191bf0bec" providerId="ADAL" clId="{A258FCB8-1969-43B9-BB9C-CA2C54090BA9}" dt="2023-06-27T15:36:16.193" v="4339"/>
          <ac:spMkLst>
            <pc:docMk/>
            <pc:sldMk cId="2201654359" sldId="729"/>
            <ac:spMk id="16" creationId="{CEB82E86-5FEF-DBA8-5049-A7D45624598F}"/>
          </ac:spMkLst>
        </pc:spChg>
        <pc:spChg chg="add del mod modVis">
          <ac:chgData name="Alexandre Mercier" userId="b4fbace6-72ad-4592-b27d-535191bf0bec" providerId="ADAL" clId="{A258FCB8-1969-43B9-BB9C-CA2C54090BA9}" dt="2023-06-27T15:36:16.796" v="4367"/>
          <ac:spMkLst>
            <pc:docMk/>
            <pc:sldMk cId="2201654359" sldId="729"/>
            <ac:spMk id="17" creationId="{2A6E791E-AF48-59DF-795B-ED30032DC0B6}"/>
          </ac:spMkLst>
        </pc:spChg>
        <pc:graphicFrameChg chg="add mod ord modVis replST">
          <ac:chgData name="Alexandre Mercier" userId="b4fbace6-72ad-4592-b27d-535191bf0bec" providerId="ADAL" clId="{A258FCB8-1969-43B9-BB9C-CA2C54090BA9}" dt="2023-06-27T15:36:30.192" v="4384"/>
          <ac:graphicFrameMkLst>
            <pc:docMk/>
            <pc:sldMk cId="2201654359" sldId="729"/>
            <ac:graphicFrameMk id="14" creationId="{0E3F5E90-9966-2334-84CE-A06D2C4FC013}"/>
          </ac:graphicFrameMkLst>
        </pc:graphicFrameChg>
        <pc:picChg chg="add mod modCrop">
          <ac:chgData name="Alexandre Mercier" userId="b4fbace6-72ad-4592-b27d-535191bf0bec" providerId="ADAL" clId="{A258FCB8-1969-43B9-BB9C-CA2C54090BA9}" dt="2023-06-27T15:38:04.966" v="4389" actId="14100"/>
          <ac:picMkLst>
            <pc:docMk/>
            <pc:sldMk cId="2201654359" sldId="729"/>
            <ac:picMk id="8" creationId="{6D72B296-C223-2D49-4CA4-E4881D251950}"/>
          </ac:picMkLst>
        </pc:picChg>
        <pc:picChg chg="add mod modCrop">
          <ac:chgData name="Alexandre Mercier" userId="b4fbace6-72ad-4592-b27d-535191bf0bec" providerId="ADAL" clId="{A258FCB8-1969-43B9-BB9C-CA2C54090BA9}" dt="2023-06-27T15:38:01.624" v="4388" actId="14100"/>
          <ac:picMkLst>
            <pc:docMk/>
            <pc:sldMk cId="2201654359" sldId="729"/>
            <ac:picMk id="10" creationId="{A801F148-11EC-91D6-791C-E9F9221FF368}"/>
          </ac:picMkLst>
        </pc:picChg>
        <pc:picChg chg="add mod modCrop">
          <ac:chgData name="Alexandre Mercier" userId="b4fbace6-72ad-4592-b27d-535191bf0bec" providerId="ADAL" clId="{A258FCB8-1969-43B9-BB9C-CA2C54090BA9}" dt="2023-06-27T18:01:33.839" v="4983" actId="1076"/>
          <ac:picMkLst>
            <pc:docMk/>
            <pc:sldMk cId="2201654359" sldId="729"/>
            <ac:picMk id="12" creationId="{A0E9E7AD-6E0B-F0CD-00E3-644012D43E9C}"/>
          </ac:picMkLst>
        </pc:picChg>
      </pc:sldChg>
      <pc:sldChg chg="addSp modSp add mod ord modNotesTx">
        <pc:chgData name="Alexandre Mercier" userId="b4fbace6-72ad-4592-b27d-535191bf0bec" providerId="ADAL" clId="{A258FCB8-1969-43B9-BB9C-CA2C54090BA9}" dt="2023-06-27T21:15:07.852" v="6409" actId="20577"/>
        <pc:sldMkLst>
          <pc:docMk/>
          <pc:sldMk cId="1005542290" sldId="730"/>
        </pc:sldMkLst>
        <pc:spChg chg="add mod">
          <ac:chgData name="Alexandre Mercier" userId="b4fbace6-72ad-4592-b27d-535191bf0bec" providerId="ADAL" clId="{A258FCB8-1969-43B9-BB9C-CA2C54090BA9}" dt="2023-06-27T21:14:05.694" v="6337" actId="20577"/>
          <ac:spMkLst>
            <pc:docMk/>
            <pc:sldMk cId="1005542290" sldId="730"/>
            <ac:spMk id="3" creationId="{189E0FF5-99B6-4B40-B877-D768402B58E1}"/>
          </ac:spMkLst>
        </pc:spChg>
        <pc:spChg chg="add mod">
          <ac:chgData name="Alexandre Mercier" userId="b4fbace6-72ad-4592-b27d-535191bf0bec" providerId="ADAL" clId="{A258FCB8-1969-43B9-BB9C-CA2C54090BA9}" dt="2023-06-27T21:12:57.918" v="6264" actId="14100"/>
          <ac:spMkLst>
            <pc:docMk/>
            <pc:sldMk cId="1005542290" sldId="730"/>
            <ac:spMk id="7" creationId="{1E889C7B-207C-684C-2455-A666E6A9298F}"/>
          </ac:spMkLst>
        </pc:spChg>
        <pc:picChg chg="mod">
          <ac:chgData name="Alexandre Mercier" userId="b4fbace6-72ad-4592-b27d-535191bf0bec" providerId="ADAL" clId="{A258FCB8-1969-43B9-BB9C-CA2C54090BA9}" dt="2023-06-27T18:01:44.859" v="4984" actId="1076"/>
          <ac:picMkLst>
            <pc:docMk/>
            <pc:sldMk cId="1005542290" sldId="730"/>
            <ac:picMk id="12" creationId="{A0E9E7AD-6E0B-F0CD-00E3-644012D43E9C}"/>
          </ac:picMkLst>
        </pc:picChg>
      </pc:sldChg>
      <pc:sldChg chg="addSp delSp modSp add del mod">
        <pc:chgData name="Alexandre Mercier" userId="b4fbace6-72ad-4592-b27d-535191bf0bec" providerId="ADAL" clId="{A258FCB8-1969-43B9-BB9C-CA2C54090BA9}" dt="2023-06-27T22:06:21.560" v="6708" actId="2696"/>
        <pc:sldMkLst>
          <pc:docMk/>
          <pc:sldMk cId="3762197612" sldId="731"/>
        </pc:sldMkLst>
        <pc:spChg chg="del">
          <ac:chgData name="Alexandre Mercier" userId="b4fbace6-72ad-4592-b27d-535191bf0bec" providerId="ADAL" clId="{A258FCB8-1969-43B9-BB9C-CA2C54090BA9}" dt="2023-06-27T22:01:11.186" v="6701" actId="478"/>
          <ac:spMkLst>
            <pc:docMk/>
            <pc:sldMk cId="3762197612" sldId="731"/>
            <ac:spMk id="3" creationId="{61B6FAAE-A45C-6722-DC6E-9AA22F02C471}"/>
          </ac:spMkLst>
        </pc:spChg>
        <pc:spChg chg="del">
          <ac:chgData name="Alexandre Mercier" userId="b4fbace6-72ad-4592-b27d-535191bf0bec" providerId="ADAL" clId="{A258FCB8-1969-43B9-BB9C-CA2C54090BA9}" dt="2023-06-27T21:32:27.687" v="6421" actId="478"/>
          <ac:spMkLst>
            <pc:docMk/>
            <pc:sldMk cId="3762197612" sldId="731"/>
            <ac:spMk id="8" creationId="{00B315DA-9BCF-7699-AAF9-4927FAAD10C7}"/>
          </ac:spMkLst>
        </pc:spChg>
        <pc:spChg chg="mod">
          <ac:chgData name="Alexandre Mercier" userId="b4fbace6-72ad-4592-b27d-535191bf0bec" providerId="ADAL" clId="{A258FCB8-1969-43B9-BB9C-CA2C54090BA9}" dt="2023-06-27T22:03:34.116" v="6706" actId="20577"/>
          <ac:spMkLst>
            <pc:docMk/>
            <pc:sldMk cId="3762197612" sldId="731"/>
            <ac:spMk id="9" creationId="{FC808DE8-E882-D41C-231A-94FE2C0AA0A1}"/>
          </ac:spMkLst>
        </pc:spChg>
        <pc:spChg chg="del">
          <ac:chgData name="Alexandre Mercier" userId="b4fbace6-72ad-4592-b27d-535191bf0bec" providerId="ADAL" clId="{A258FCB8-1969-43B9-BB9C-CA2C54090BA9}" dt="2023-06-27T21:32:23.601" v="6419" actId="478"/>
          <ac:spMkLst>
            <pc:docMk/>
            <pc:sldMk cId="3762197612" sldId="731"/>
            <ac:spMk id="10" creationId="{B015F920-0A34-C962-CC79-D99D8613DD28}"/>
          </ac:spMkLst>
        </pc:spChg>
        <pc:spChg chg="del">
          <ac:chgData name="Alexandre Mercier" userId="b4fbace6-72ad-4592-b27d-535191bf0bec" providerId="ADAL" clId="{A258FCB8-1969-43B9-BB9C-CA2C54090BA9}" dt="2023-06-27T21:32:25.515" v="6420" actId="478"/>
          <ac:spMkLst>
            <pc:docMk/>
            <pc:sldMk cId="3762197612" sldId="731"/>
            <ac:spMk id="11" creationId="{2777BA70-E925-F263-FE3C-AA9A7F59FA01}"/>
          </ac:spMkLst>
        </pc:spChg>
        <pc:spChg chg="add del mod">
          <ac:chgData name="Alexandre Mercier" userId="b4fbace6-72ad-4592-b27d-535191bf0bec" providerId="ADAL" clId="{A258FCB8-1969-43B9-BB9C-CA2C54090BA9}" dt="2023-06-27T22:01:14.759" v="6702" actId="478"/>
          <ac:spMkLst>
            <pc:docMk/>
            <pc:sldMk cId="3762197612" sldId="731"/>
            <ac:spMk id="13" creationId="{B891EDD3-A5A0-187A-D6B5-B288B4C67F6E}"/>
          </ac:spMkLst>
        </pc:spChg>
      </pc:sldChg>
      <pc:sldChg chg="delSp add mod ord">
        <pc:chgData name="Alexandre Mercier" userId="b4fbace6-72ad-4592-b27d-535191bf0bec" providerId="ADAL" clId="{A258FCB8-1969-43B9-BB9C-CA2C54090BA9}" dt="2023-06-27T21:00:11.112" v="5749"/>
        <pc:sldMkLst>
          <pc:docMk/>
          <pc:sldMk cId="3686245938" sldId="732"/>
        </pc:sldMkLst>
        <pc:spChg chg="del">
          <ac:chgData name="Alexandre Mercier" userId="b4fbace6-72ad-4592-b27d-535191bf0bec" providerId="ADAL" clId="{A258FCB8-1969-43B9-BB9C-CA2C54090BA9}" dt="2023-06-27T20:57:10.500" v="5682" actId="478"/>
          <ac:spMkLst>
            <pc:docMk/>
            <pc:sldMk cId="3686245938" sldId="732"/>
            <ac:spMk id="13" creationId="{CED14702-A5EB-565F-E34D-088D4E6BB4F7}"/>
          </ac:spMkLst>
        </pc:spChg>
        <pc:spChg chg="del">
          <ac:chgData name="Alexandre Mercier" userId="b4fbace6-72ad-4592-b27d-535191bf0bec" providerId="ADAL" clId="{A258FCB8-1969-43B9-BB9C-CA2C54090BA9}" dt="2023-06-27T20:57:14.053" v="5683" actId="478"/>
          <ac:spMkLst>
            <pc:docMk/>
            <pc:sldMk cId="3686245938" sldId="732"/>
            <ac:spMk id="14" creationId="{8FE0A170-A10C-B7A7-6A43-46FD5AD92638}"/>
          </ac:spMkLst>
        </pc:spChg>
        <pc:spChg chg="del">
          <ac:chgData name="Alexandre Mercier" userId="b4fbace6-72ad-4592-b27d-535191bf0bec" providerId="ADAL" clId="{A258FCB8-1969-43B9-BB9C-CA2C54090BA9}" dt="2023-06-27T20:57:16.692" v="5684" actId="478"/>
          <ac:spMkLst>
            <pc:docMk/>
            <pc:sldMk cId="3686245938" sldId="732"/>
            <ac:spMk id="15" creationId="{BFDBB182-56C7-2CE2-C3EE-0A0105092B30}"/>
          </ac:spMkLst>
        </pc:spChg>
      </pc:sldChg>
      <pc:sldChg chg="modSp add mod modNotesTx">
        <pc:chgData name="Alexandre Mercier" userId="b4fbace6-72ad-4592-b27d-535191bf0bec" providerId="ADAL" clId="{A258FCB8-1969-43B9-BB9C-CA2C54090BA9}" dt="2023-06-27T21:33:48.182" v="6455" actId="5793"/>
        <pc:sldMkLst>
          <pc:docMk/>
          <pc:sldMk cId="4173388586" sldId="733"/>
        </pc:sldMkLst>
        <pc:spChg chg="mod">
          <ac:chgData name="Alexandre Mercier" userId="b4fbace6-72ad-4592-b27d-535191bf0bec" providerId="ADAL" clId="{A258FCB8-1969-43B9-BB9C-CA2C54090BA9}" dt="2023-06-27T21:16:35.338" v="6415" actId="20577"/>
          <ac:spMkLst>
            <pc:docMk/>
            <pc:sldMk cId="4173388586" sldId="733"/>
            <ac:spMk id="3" creationId="{189E0FF5-99B6-4B40-B877-D768402B58E1}"/>
          </ac:spMkLst>
        </pc:spChg>
        <pc:spChg chg="mod">
          <ac:chgData name="Alexandre Mercier" userId="b4fbace6-72ad-4592-b27d-535191bf0bec" providerId="ADAL" clId="{A258FCB8-1969-43B9-BB9C-CA2C54090BA9}" dt="2023-06-27T21:16:31.963" v="6414" actId="5793"/>
          <ac:spMkLst>
            <pc:docMk/>
            <pc:sldMk cId="4173388586" sldId="733"/>
            <ac:spMk id="7" creationId="{1E889C7B-207C-684C-2455-A666E6A9298F}"/>
          </ac:spMkLst>
        </pc:spChg>
      </pc:sldChg>
      <pc:sldChg chg="addSp modSp new add mod modNotesTx">
        <pc:chgData name="Alexandre Mercier" userId="b4fbace6-72ad-4592-b27d-535191bf0bec" providerId="ADAL" clId="{A258FCB8-1969-43B9-BB9C-CA2C54090BA9}" dt="2023-06-28T10:25:04.960" v="7900" actId="20577"/>
        <pc:sldMkLst>
          <pc:docMk/>
          <pc:sldMk cId="1287012143" sldId="734"/>
        </pc:sldMkLst>
        <pc:spChg chg="mod">
          <ac:chgData name="Alexandre Mercier" userId="b4fbace6-72ad-4592-b27d-535191bf0bec" providerId="ADAL" clId="{A258FCB8-1969-43B9-BB9C-CA2C54090BA9}" dt="2023-06-27T21:33:55.544" v="6468" actId="948"/>
          <ac:spMkLst>
            <pc:docMk/>
            <pc:sldMk cId="1287012143" sldId="734"/>
            <ac:spMk id="2" creationId="{3BDE23B3-F395-51C1-2978-200B4A71E56A}"/>
          </ac:spMkLst>
        </pc:spChg>
        <pc:spChg chg="mod">
          <ac:chgData name="Alexandre Mercier" userId="b4fbace6-72ad-4592-b27d-535191bf0bec" providerId="ADAL" clId="{A258FCB8-1969-43B9-BB9C-CA2C54090BA9}" dt="2023-06-27T21:54:44.468" v="6572" actId="403"/>
          <ac:spMkLst>
            <pc:docMk/>
            <pc:sldMk cId="1287012143" sldId="734"/>
            <ac:spMk id="3" creationId="{9E3046C6-9259-A622-3AFE-89E1088455A3}"/>
          </ac:spMkLst>
        </pc:spChg>
        <pc:spChg chg="add mod">
          <ac:chgData name="Alexandre Mercier" userId="b4fbace6-72ad-4592-b27d-535191bf0bec" providerId="ADAL" clId="{A258FCB8-1969-43B9-BB9C-CA2C54090BA9}" dt="2023-06-27T21:53:04.177" v="6568" actId="1076"/>
          <ac:spMkLst>
            <pc:docMk/>
            <pc:sldMk cId="1287012143" sldId="734"/>
            <ac:spMk id="9" creationId="{3E1E13A8-1879-12E8-43C4-41EFC7693E0F}"/>
          </ac:spMkLst>
        </pc:spChg>
        <pc:spChg chg="add mod">
          <ac:chgData name="Alexandre Mercier" userId="b4fbace6-72ad-4592-b27d-535191bf0bec" providerId="ADAL" clId="{A258FCB8-1969-43B9-BB9C-CA2C54090BA9}" dt="2023-06-27T21:52:59.633" v="6567" actId="122"/>
          <ac:spMkLst>
            <pc:docMk/>
            <pc:sldMk cId="1287012143" sldId="734"/>
            <ac:spMk id="11" creationId="{27B6BEAA-F1FC-0F9E-FE30-1F49C3BB00F5}"/>
          </ac:spMkLst>
        </pc:spChg>
        <pc:graphicFrameChg chg="add mod ord modVis replST">
          <ac:chgData name="Alexandre Mercier" userId="b4fbace6-72ad-4592-b27d-535191bf0bec" providerId="ADAL" clId="{A258FCB8-1969-43B9-BB9C-CA2C54090BA9}" dt="2023-06-27T21:33:55.576" v="6485"/>
          <ac:graphicFrameMkLst>
            <pc:docMk/>
            <pc:sldMk cId="1287012143" sldId="734"/>
            <ac:graphicFrameMk id="7" creationId="{59F25E8E-2DBD-927C-BF30-9085D3BE0516}"/>
          </ac:graphicFrameMkLst>
        </pc:graphicFrameChg>
      </pc:sldChg>
      <pc:sldChg chg="modSp add mod">
        <pc:chgData name="Alexandre Mercier" userId="b4fbace6-72ad-4592-b27d-535191bf0bec" providerId="ADAL" clId="{A258FCB8-1969-43B9-BB9C-CA2C54090BA9}" dt="2023-06-27T21:59:26.153" v="6698" actId="1076"/>
        <pc:sldMkLst>
          <pc:docMk/>
          <pc:sldMk cId="742308580" sldId="735"/>
        </pc:sldMkLst>
        <pc:spChg chg="mod">
          <ac:chgData name="Alexandre Mercier" userId="b4fbace6-72ad-4592-b27d-535191bf0bec" providerId="ADAL" clId="{A258FCB8-1969-43B9-BB9C-CA2C54090BA9}" dt="2023-06-27T21:59:26.153" v="6698" actId="1076"/>
          <ac:spMkLst>
            <pc:docMk/>
            <pc:sldMk cId="742308580" sldId="735"/>
            <ac:spMk id="7" creationId="{00000000-0000-0000-0000-000000000000}"/>
          </ac:spMkLst>
        </pc:spChg>
      </pc:sldChg>
      <pc:sldChg chg="addSp delSp modSp new add mod">
        <pc:chgData name="Alexandre Mercier" userId="b4fbace6-72ad-4592-b27d-535191bf0bec" providerId="ADAL" clId="{A258FCB8-1969-43B9-BB9C-CA2C54090BA9}" dt="2023-06-28T09:56:23.664" v="7821" actId="1076"/>
        <pc:sldMkLst>
          <pc:docMk/>
          <pc:sldMk cId="1666637556" sldId="736"/>
        </pc:sldMkLst>
        <pc:spChg chg="mod ord">
          <ac:chgData name="Alexandre Mercier" userId="b4fbace6-72ad-4592-b27d-535191bf0bec" providerId="ADAL" clId="{A258FCB8-1969-43B9-BB9C-CA2C54090BA9}" dt="2023-06-28T09:56:01.686" v="7805"/>
          <ac:spMkLst>
            <pc:docMk/>
            <pc:sldMk cId="1666637556" sldId="736"/>
            <ac:spMk id="2" creationId="{22778CC1-5D66-2EC2-9793-F30617743D88}"/>
          </ac:spMkLst>
        </pc:spChg>
        <pc:spChg chg="mod ord">
          <ac:chgData name="Alexandre Mercier" userId="b4fbace6-72ad-4592-b27d-535191bf0bec" providerId="ADAL" clId="{A258FCB8-1969-43B9-BB9C-CA2C54090BA9}" dt="2023-06-28T09:56:09.476" v="7819" actId="403"/>
          <ac:spMkLst>
            <pc:docMk/>
            <pc:sldMk cId="1666637556" sldId="736"/>
            <ac:spMk id="3" creationId="{A8B50828-F281-FE46-6AE4-583B951BAA52}"/>
          </ac:spMkLst>
        </pc:spChg>
        <pc:spChg chg="mod ord">
          <ac:chgData name="Alexandre Mercier" userId="b4fbace6-72ad-4592-b27d-535191bf0bec" providerId="ADAL" clId="{A258FCB8-1969-43B9-BB9C-CA2C54090BA9}" dt="2023-06-28T09:56:01.686" v="7809"/>
          <ac:spMkLst>
            <pc:docMk/>
            <pc:sldMk cId="1666637556" sldId="736"/>
            <ac:spMk id="4" creationId="{CB64704E-FE04-F1AC-2D03-91396F03F5A2}"/>
          </ac:spMkLst>
        </pc:spChg>
        <pc:spChg chg="mod ord">
          <ac:chgData name="Alexandre Mercier" userId="b4fbace6-72ad-4592-b27d-535191bf0bec" providerId="ADAL" clId="{A258FCB8-1969-43B9-BB9C-CA2C54090BA9}" dt="2023-06-28T09:56:01.686" v="7811"/>
          <ac:spMkLst>
            <pc:docMk/>
            <pc:sldMk cId="1666637556" sldId="736"/>
            <ac:spMk id="5" creationId="{18B3E9BD-3DF7-FAE1-E156-311E3BC3A47D}"/>
          </ac:spMkLst>
        </pc:spChg>
        <pc:spChg chg="mod ord">
          <ac:chgData name="Alexandre Mercier" userId="b4fbace6-72ad-4592-b27d-535191bf0bec" providerId="ADAL" clId="{A258FCB8-1969-43B9-BB9C-CA2C54090BA9}" dt="2023-06-28T09:56:01.686" v="7813"/>
          <ac:spMkLst>
            <pc:docMk/>
            <pc:sldMk cId="1666637556" sldId="736"/>
            <ac:spMk id="6" creationId="{732F61A3-73AF-F904-785C-65C79D6447E2}"/>
          </ac:spMkLst>
        </pc:spChg>
        <pc:spChg chg="add del mod">
          <ac:chgData name="Alexandre Mercier" userId="b4fbace6-72ad-4592-b27d-535191bf0bec" providerId="ADAL" clId="{A258FCB8-1969-43B9-BB9C-CA2C54090BA9}" dt="2023-06-28T09:55:41.724" v="7795"/>
          <ac:spMkLst>
            <pc:docMk/>
            <pc:sldMk cId="1666637556" sldId="736"/>
            <ac:spMk id="8" creationId="{0774E90D-F06D-F41F-9E6A-B3461793BB6D}"/>
          </ac:spMkLst>
        </pc:spChg>
        <pc:spChg chg="add del mod">
          <ac:chgData name="Alexandre Mercier" userId="b4fbace6-72ad-4592-b27d-535191bf0bec" providerId="ADAL" clId="{A258FCB8-1969-43B9-BB9C-CA2C54090BA9}" dt="2023-06-28T09:55:47.788" v="7797"/>
          <ac:spMkLst>
            <pc:docMk/>
            <pc:sldMk cId="1666637556" sldId="736"/>
            <ac:spMk id="9" creationId="{145568E2-2C0D-8FD9-B9A6-12CFA60DE7B8}"/>
          </ac:spMkLst>
        </pc:spChg>
        <pc:spChg chg="add mod ord">
          <ac:chgData name="Alexandre Mercier" userId="b4fbace6-72ad-4592-b27d-535191bf0bec" providerId="ADAL" clId="{A258FCB8-1969-43B9-BB9C-CA2C54090BA9}" dt="2023-06-28T09:56:23.664" v="7821" actId="1076"/>
          <ac:spMkLst>
            <pc:docMk/>
            <pc:sldMk cId="1666637556" sldId="736"/>
            <ac:spMk id="10" creationId="{458A834A-199B-23E8-EA7B-DF372767D2C7}"/>
          </ac:spMkLst>
        </pc:spChg>
        <pc:graphicFrameChg chg="add mod ord modVis replST">
          <ac:chgData name="Alexandre Mercier" userId="b4fbace6-72ad-4592-b27d-535191bf0bec" providerId="ADAL" clId="{A258FCB8-1969-43B9-BB9C-CA2C54090BA9}" dt="2023-06-28T09:56:01.686" v="7817"/>
          <ac:graphicFrameMkLst>
            <pc:docMk/>
            <pc:sldMk cId="1666637556" sldId="736"/>
            <ac:graphicFrameMk id="7" creationId="{9ECBA073-A15B-A81E-0368-501C9F6F73B5}"/>
          </ac:graphicFrameMkLst>
        </pc:graphicFrameChg>
      </pc:sldChg>
      <pc:sldMasterChg chg="modSldLayout">
        <pc:chgData name="Alexandre Mercier" userId="b4fbace6-72ad-4592-b27d-535191bf0bec" providerId="ADAL" clId="{A258FCB8-1969-43B9-BB9C-CA2C54090BA9}" dt="2023-06-27T20:26:13.299" v="5267" actId="20577"/>
        <pc:sldMasterMkLst>
          <pc:docMk/>
          <pc:sldMasterMk cId="0" sldId="2147483725"/>
        </pc:sldMasterMkLst>
        <pc:sldLayoutChg chg="modSp mod">
          <pc:chgData name="Alexandre Mercier" userId="b4fbace6-72ad-4592-b27d-535191bf0bec" providerId="ADAL" clId="{A258FCB8-1969-43B9-BB9C-CA2C54090BA9}" dt="2023-06-27T20:26:13.299" v="5267" actId="20577"/>
          <pc:sldLayoutMkLst>
            <pc:docMk/>
            <pc:sldMasterMk cId="0" sldId="2147483725"/>
            <pc:sldLayoutMk cId="0" sldId="2147483774"/>
          </pc:sldLayoutMkLst>
          <pc:spChg chg="mod">
            <ac:chgData name="Alexandre Mercier" userId="b4fbace6-72ad-4592-b27d-535191bf0bec" providerId="ADAL" clId="{A258FCB8-1969-43B9-BB9C-CA2C54090BA9}" dt="2023-06-27T20:26:13.299" v="5267" actId="20577"/>
            <ac:spMkLst>
              <pc:docMk/>
              <pc:sldMasterMk cId="0" sldId="2147483725"/>
              <pc:sldLayoutMk cId="0" sldId="2147483774"/>
              <ac:spMk id="25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20B9D0C-FCA1-493B-860D-E65D3F3FE489}" type="doc">
      <dgm:prSet loTypeId="urn:microsoft.com/office/officeart/2005/8/layout/hList1" loCatId="list" qsTypeId="urn:microsoft.com/office/officeart/2005/8/quickstyle/simple5" qsCatId="simple" csTypeId="urn:microsoft.com/office/officeart/2005/8/colors/accent5_2" csCatId="accent5" phldr="1"/>
      <dgm:spPr/>
      <dgm:t>
        <a:bodyPr/>
        <a:lstStyle/>
        <a:p>
          <a:endParaRPr lang="en-GB"/>
        </a:p>
      </dgm:t>
    </dgm:pt>
    <dgm:pt modelId="{926E709E-BECB-4ADC-80E9-D1D494C7B2E2}">
      <dgm:prSet phldrT="[Text]"/>
      <dgm:spPr/>
      <dgm:t>
        <a:bodyPr/>
        <a:lstStyle/>
        <a:p>
          <a:r>
            <a:rPr lang="en-GB" dirty="0"/>
            <a:t>They provide</a:t>
          </a:r>
        </a:p>
      </dgm:t>
    </dgm:pt>
    <dgm:pt modelId="{0751884D-8725-4777-B44E-788B960C006E}" type="parTrans" cxnId="{3FF2DFB1-BAA8-42E2-AC76-477D3B41103F}">
      <dgm:prSet/>
      <dgm:spPr/>
      <dgm:t>
        <a:bodyPr/>
        <a:lstStyle/>
        <a:p>
          <a:endParaRPr lang="en-GB"/>
        </a:p>
      </dgm:t>
    </dgm:pt>
    <dgm:pt modelId="{DC329A7A-89FC-4117-97ED-ECE1518EC9EE}" type="sibTrans" cxnId="{3FF2DFB1-BAA8-42E2-AC76-477D3B41103F}">
      <dgm:prSet/>
      <dgm:spPr/>
      <dgm:t>
        <a:bodyPr/>
        <a:lstStyle/>
        <a:p>
          <a:endParaRPr lang="en-GB"/>
        </a:p>
      </dgm:t>
    </dgm:pt>
    <dgm:pt modelId="{863B5B58-E9D8-442D-9F59-2041646FAF22}">
      <dgm:prSet phldrT="[Text]"/>
      <dgm:spPr/>
      <dgm:t>
        <a:bodyPr/>
        <a:lstStyle/>
        <a:p>
          <a:r>
            <a:rPr lang="en-GB" dirty="0"/>
            <a:t>Access to their database</a:t>
          </a:r>
        </a:p>
      </dgm:t>
    </dgm:pt>
    <dgm:pt modelId="{95CCEE7B-7E88-4A12-A031-A6F150777305}" type="parTrans" cxnId="{5B7B6EC5-E36D-4F67-B7E0-BF9C6444CEA7}">
      <dgm:prSet/>
      <dgm:spPr/>
      <dgm:t>
        <a:bodyPr/>
        <a:lstStyle/>
        <a:p>
          <a:endParaRPr lang="en-GB"/>
        </a:p>
      </dgm:t>
    </dgm:pt>
    <dgm:pt modelId="{87EDA06D-04D4-4160-9E5B-1D7CAE612DDD}" type="sibTrans" cxnId="{5B7B6EC5-E36D-4F67-B7E0-BF9C6444CEA7}">
      <dgm:prSet/>
      <dgm:spPr/>
      <dgm:t>
        <a:bodyPr/>
        <a:lstStyle/>
        <a:p>
          <a:endParaRPr lang="en-GB"/>
        </a:p>
      </dgm:t>
    </dgm:pt>
    <dgm:pt modelId="{F7AB7766-44F1-43A7-AF5A-F89AD34D32B6}">
      <dgm:prSet phldrT="[Text]"/>
      <dgm:spPr/>
      <dgm:t>
        <a:bodyPr/>
        <a:lstStyle/>
        <a:p>
          <a:r>
            <a:rPr lang="en-GB" dirty="0"/>
            <a:t>Their website as a testing ground</a:t>
          </a:r>
        </a:p>
      </dgm:t>
    </dgm:pt>
    <dgm:pt modelId="{BDDF1C93-09CB-4448-9135-812AB9A49497}" type="parTrans" cxnId="{F9793D8F-91CC-4DAA-AC05-24DBACE1900F}">
      <dgm:prSet/>
      <dgm:spPr/>
      <dgm:t>
        <a:bodyPr/>
        <a:lstStyle/>
        <a:p>
          <a:endParaRPr lang="en-GB"/>
        </a:p>
      </dgm:t>
    </dgm:pt>
    <dgm:pt modelId="{9AB07D22-D01B-48EF-8A5B-F6183EB26200}" type="sibTrans" cxnId="{F9793D8F-91CC-4DAA-AC05-24DBACE1900F}">
      <dgm:prSet/>
      <dgm:spPr/>
      <dgm:t>
        <a:bodyPr/>
        <a:lstStyle/>
        <a:p>
          <a:endParaRPr lang="en-GB"/>
        </a:p>
      </dgm:t>
    </dgm:pt>
    <dgm:pt modelId="{A9C9CA01-9CB7-4D72-9A03-869FD81DB5E6}">
      <dgm:prSet phldrT="[Text]"/>
      <dgm:spPr/>
      <dgm:t>
        <a:bodyPr/>
        <a:lstStyle/>
        <a:p>
          <a:r>
            <a:rPr lang="en-GB" dirty="0"/>
            <a:t>The Thesis</a:t>
          </a:r>
        </a:p>
      </dgm:t>
    </dgm:pt>
    <dgm:pt modelId="{3DB9F113-F293-4E91-B3FF-56D68A27B0B4}" type="parTrans" cxnId="{976B9E76-4050-4662-8ED5-C5A9B108D9A4}">
      <dgm:prSet/>
      <dgm:spPr/>
      <dgm:t>
        <a:bodyPr/>
        <a:lstStyle/>
        <a:p>
          <a:endParaRPr lang="en-GB"/>
        </a:p>
      </dgm:t>
    </dgm:pt>
    <dgm:pt modelId="{FAA73FF0-3E57-4B60-A614-0E8CAB3C261D}" type="sibTrans" cxnId="{976B9E76-4050-4662-8ED5-C5A9B108D9A4}">
      <dgm:prSet/>
      <dgm:spPr/>
      <dgm:t>
        <a:bodyPr/>
        <a:lstStyle/>
        <a:p>
          <a:endParaRPr lang="en-GB"/>
        </a:p>
      </dgm:t>
    </dgm:pt>
    <dgm:pt modelId="{D755F351-53C3-427A-B3DD-7075FF9464AA}">
      <dgm:prSet phldrT="[Text]"/>
      <dgm:spPr/>
      <dgm:t>
        <a:bodyPr/>
        <a:lstStyle/>
        <a:p>
          <a:r>
            <a:rPr lang="en-GB" dirty="0"/>
            <a:t>Implement 3 different use-cases</a:t>
          </a:r>
        </a:p>
      </dgm:t>
    </dgm:pt>
    <dgm:pt modelId="{6725394E-2D17-475F-8C4F-CD0A8D2648E6}" type="parTrans" cxnId="{D0F42579-F866-4EE9-BBC0-DBC482A39340}">
      <dgm:prSet/>
      <dgm:spPr/>
      <dgm:t>
        <a:bodyPr/>
        <a:lstStyle/>
        <a:p>
          <a:endParaRPr lang="en-GB"/>
        </a:p>
      </dgm:t>
    </dgm:pt>
    <dgm:pt modelId="{A23B2CA5-C4A9-420C-95E0-63B694223786}" type="sibTrans" cxnId="{D0F42579-F866-4EE9-BBC0-DBC482A39340}">
      <dgm:prSet/>
      <dgm:spPr/>
      <dgm:t>
        <a:bodyPr/>
        <a:lstStyle/>
        <a:p>
          <a:endParaRPr lang="en-GB"/>
        </a:p>
      </dgm:t>
    </dgm:pt>
    <dgm:pt modelId="{077E8A5F-0B5D-4332-99F6-E7B9B6AFBB2D}">
      <dgm:prSet phldrT="[Text]"/>
      <dgm:spPr/>
      <dgm:t>
        <a:bodyPr/>
        <a:lstStyle/>
        <a:p>
          <a:r>
            <a:rPr lang="en-GB" dirty="0"/>
            <a:t>Evaluate their impact on service quality and user interaction</a:t>
          </a:r>
        </a:p>
      </dgm:t>
    </dgm:pt>
    <dgm:pt modelId="{9C3CBBF7-ECDB-4AD1-BB1A-84BF1B364740}" type="parTrans" cxnId="{CA204FAD-68C2-4133-AC4B-03D883F07C16}">
      <dgm:prSet/>
      <dgm:spPr/>
      <dgm:t>
        <a:bodyPr/>
        <a:lstStyle/>
        <a:p>
          <a:endParaRPr lang="en-GB"/>
        </a:p>
      </dgm:t>
    </dgm:pt>
    <dgm:pt modelId="{902333A5-DDEB-4488-8F22-E8C80F512E77}" type="sibTrans" cxnId="{CA204FAD-68C2-4133-AC4B-03D883F07C16}">
      <dgm:prSet/>
      <dgm:spPr/>
      <dgm:t>
        <a:bodyPr/>
        <a:lstStyle/>
        <a:p>
          <a:endParaRPr lang="en-GB"/>
        </a:p>
      </dgm:t>
    </dgm:pt>
    <dgm:pt modelId="{F02232C4-A953-413A-BB5B-453860220794}" type="pres">
      <dgm:prSet presAssocID="{C20B9D0C-FCA1-493B-860D-E65D3F3FE489}" presName="Name0" presStyleCnt="0">
        <dgm:presLayoutVars>
          <dgm:dir/>
          <dgm:animLvl val="lvl"/>
          <dgm:resizeHandles val="exact"/>
        </dgm:presLayoutVars>
      </dgm:prSet>
      <dgm:spPr/>
    </dgm:pt>
    <dgm:pt modelId="{6B53853C-54BA-4C14-B16C-818F6DC0706D}" type="pres">
      <dgm:prSet presAssocID="{926E709E-BECB-4ADC-80E9-D1D494C7B2E2}" presName="composite" presStyleCnt="0"/>
      <dgm:spPr/>
    </dgm:pt>
    <dgm:pt modelId="{7D98A85D-0914-40F4-9937-80D663886765}" type="pres">
      <dgm:prSet presAssocID="{926E709E-BECB-4ADC-80E9-D1D494C7B2E2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36C038E3-8E58-46F0-949A-BC4C60DB20F2}" type="pres">
      <dgm:prSet presAssocID="{926E709E-BECB-4ADC-80E9-D1D494C7B2E2}" presName="desTx" presStyleLbl="alignAccFollowNode1" presStyleIdx="0" presStyleCnt="2">
        <dgm:presLayoutVars>
          <dgm:bulletEnabled val="1"/>
        </dgm:presLayoutVars>
      </dgm:prSet>
      <dgm:spPr/>
    </dgm:pt>
    <dgm:pt modelId="{A9436B3A-9400-4D39-98D5-097BEE5C3CE5}" type="pres">
      <dgm:prSet presAssocID="{DC329A7A-89FC-4117-97ED-ECE1518EC9EE}" presName="space" presStyleCnt="0"/>
      <dgm:spPr/>
    </dgm:pt>
    <dgm:pt modelId="{D35306A0-C76F-455B-B423-3E5A164093C0}" type="pres">
      <dgm:prSet presAssocID="{A9C9CA01-9CB7-4D72-9A03-869FD81DB5E6}" presName="composite" presStyleCnt="0"/>
      <dgm:spPr/>
    </dgm:pt>
    <dgm:pt modelId="{89C8F00C-47CB-43AD-9F63-2D14D6124EDB}" type="pres">
      <dgm:prSet presAssocID="{A9C9CA01-9CB7-4D72-9A03-869FD81DB5E6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966DEF06-BA1E-48C6-89B3-20241E7B8A9A}" type="pres">
      <dgm:prSet presAssocID="{A9C9CA01-9CB7-4D72-9A03-869FD81DB5E6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54771229-AABF-4FBE-98ED-CE1AC3014EAD}" type="presOf" srcId="{926E709E-BECB-4ADC-80E9-D1D494C7B2E2}" destId="{7D98A85D-0914-40F4-9937-80D663886765}" srcOrd="0" destOrd="0" presId="urn:microsoft.com/office/officeart/2005/8/layout/hList1"/>
    <dgm:cxn modelId="{EC8B8032-522C-42BC-B148-B2B1ED33AF0A}" type="presOf" srcId="{863B5B58-E9D8-442D-9F59-2041646FAF22}" destId="{36C038E3-8E58-46F0-949A-BC4C60DB20F2}" srcOrd="0" destOrd="0" presId="urn:microsoft.com/office/officeart/2005/8/layout/hList1"/>
    <dgm:cxn modelId="{1AAECD40-F3CA-47FA-8A94-D0516C76C15C}" type="presOf" srcId="{A9C9CA01-9CB7-4D72-9A03-869FD81DB5E6}" destId="{89C8F00C-47CB-43AD-9F63-2D14D6124EDB}" srcOrd="0" destOrd="0" presId="urn:microsoft.com/office/officeart/2005/8/layout/hList1"/>
    <dgm:cxn modelId="{976B9E76-4050-4662-8ED5-C5A9B108D9A4}" srcId="{C20B9D0C-FCA1-493B-860D-E65D3F3FE489}" destId="{A9C9CA01-9CB7-4D72-9A03-869FD81DB5E6}" srcOrd="1" destOrd="0" parTransId="{3DB9F113-F293-4E91-B3FF-56D68A27B0B4}" sibTransId="{FAA73FF0-3E57-4B60-A614-0E8CAB3C261D}"/>
    <dgm:cxn modelId="{D0F42579-F866-4EE9-BBC0-DBC482A39340}" srcId="{A9C9CA01-9CB7-4D72-9A03-869FD81DB5E6}" destId="{D755F351-53C3-427A-B3DD-7075FF9464AA}" srcOrd="0" destOrd="0" parTransId="{6725394E-2D17-475F-8C4F-CD0A8D2648E6}" sibTransId="{A23B2CA5-C4A9-420C-95E0-63B694223786}"/>
    <dgm:cxn modelId="{F9793D8F-91CC-4DAA-AC05-24DBACE1900F}" srcId="{926E709E-BECB-4ADC-80E9-D1D494C7B2E2}" destId="{F7AB7766-44F1-43A7-AF5A-F89AD34D32B6}" srcOrd="1" destOrd="0" parTransId="{BDDF1C93-09CB-4448-9135-812AB9A49497}" sibTransId="{9AB07D22-D01B-48EF-8A5B-F6183EB26200}"/>
    <dgm:cxn modelId="{4809209A-266E-4655-9AD5-82C8535E2701}" type="presOf" srcId="{F7AB7766-44F1-43A7-AF5A-F89AD34D32B6}" destId="{36C038E3-8E58-46F0-949A-BC4C60DB20F2}" srcOrd="0" destOrd="1" presId="urn:microsoft.com/office/officeart/2005/8/layout/hList1"/>
    <dgm:cxn modelId="{8740A7A8-107A-46DA-A5C2-B96833FCA36D}" type="presOf" srcId="{D755F351-53C3-427A-B3DD-7075FF9464AA}" destId="{966DEF06-BA1E-48C6-89B3-20241E7B8A9A}" srcOrd="0" destOrd="0" presId="urn:microsoft.com/office/officeart/2005/8/layout/hList1"/>
    <dgm:cxn modelId="{CA204FAD-68C2-4133-AC4B-03D883F07C16}" srcId="{A9C9CA01-9CB7-4D72-9A03-869FD81DB5E6}" destId="{077E8A5F-0B5D-4332-99F6-E7B9B6AFBB2D}" srcOrd="1" destOrd="0" parTransId="{9C3CBBF7-ECDB-4AD1-BB1A-84BF1B364740}" sibTransId="{902333A5-DDEB-4488-8F22-E8C80F512E77}"/>
    <dgm:cxn modelId="{3FF2DFB1-BAA8-42E2-AC76-477D3B41103F}" srcId="{C20B9D0C-FCA1-493B-860D-E65D3F3FE489}" destId="{926E709E-BECB-4ADC-80E9-D1D494C7B2E2}" srcOrd="0" destOrd="0" parTransId="{0751884D-8725-4777-B44E-788B960C006E}" sibTransId="{DC329A7A-89FC-4117-97ED-ECE1518EC9EE}"/>
    <dgm:cxn modelId="{5B7B6EC5-E36D-4F67-B7E0-BF9C6444CEA7}" srcId="{926E709E-BECB-4ADC-80E9-D1D494C7B2E2}" destId="{863B5B58-E9D8-442D-9F59-2041646FAF22}" srcOrd="0" destOrd="0" parTransId="{95CCEE7B-7E88-4A12-A031-A6F150777305}" sibTransId="{87EDA06D-04D4-4160-9E5B-1D7CAE612DDD}"/>
    <dgm:cxn modelId="{D179C3E5-0D27-4C04-8B26-72664A9C08CD}" type="presOf" srcId="{C20B9D0C-FCA1-493B-860D-E65D3F3FE489}" destId="{F02232C4-A953-413A-BB5B-453860220794}" srcOrd="0" destOrd="0" presId="urn:microsoft.com/office/officeart/2005/8/layout/hList1"/>
    <dgm:cxn modelId="{D3F981FF-ADC7-4A2D-B0FE-8A5754FB1783}" type="presOf" srcId="{077E8A5F-0B5D-4332-99F6-E7B9B6AFBB2D}" destId="{966DEF06-BA1E-48C6-89B3-20241E7B8A9A}" srcOrd="0" destOrd="1" presId="urn:microsoft.com/office/officeart/2005/8/layout/hList1"/>
    <dgm:cxn modelId="{9DB4830A-AB8E-44AF-A9F5-E10B99AB5838}" type="presParOf" srcId="{F02232C4-A953-413A-BB5B-453860220794}" destId="{6B53853C-54BA-4C14-B16C-818F6DC0706D}" srcOrd="0" destOrd="0" presId="urn:microsoft.com/office/officeart/2005/8/layout/hList1"/>
    <dgm:cxn modelId="{004FFD86-FAFB-40C5-98AE-EA6730D4D334}" type="presParOf" srcId="{6B53853C-54BA-4C14-B16C-818F6DC0706D}" destId="{7D98A85D-0914-40F4-9937-80D663886765}" srcOrd="0" destOrd="0" presId="urn:microsoft.com/office/officeart/2005/8/layout/hList1"/>
    <dgm:cxn modelId="{4E4E3343-1ECB-4E0E-BFF8-10BEBB5A8D2F}" type="presParOf" srcId="{6B53853C-54BA-4C14-B16C-818F6DC0706D}" destId="{36C038E3-8E58-46F0-949A-BC4C60DB20F2}" srcOrd="1" destOrd="0" presId="urn:microsoft.com/office/officeart/2005/8/layout/hList1"/>
    <dgm:cxn modelId="{617B7E8C-C42E-482F-A6BE-52E7F7382176}" type="presParOf" srcId="{F02232C4-A953-413A-BB5B-453860220794}" destId="{A9436B3A-9400-4D39-98D5-097BEE5C3CE5}" srcOrd="1" destOrd="0" presId="urn:microsoft.com/office/officeart/2005/8/layout/hList1"/>
    <dgm:cxn modelId="{D32012D1-F351-4C17-9C33-5567BCD9C16F}" type="presParOf" srcId="{F02232C4-A953-413A-BB5B-453860220794}" destId="{D35306A0-C76F-455B-B423-3E5A164093C0}" srcOrd="2" destOrd="0" presId="urn:microsoft.com/office/officeart/2005/8/layout/hList1"/>
    <dgm:cxn modelId="{749BC70F-1257-460A-A9D7-D5F66855727B}" type="presParOf" srcId="{D35306A0-C76F-455B-B423-3E5A164093C0}" destId="{89C8F00C-47CB-43AD-9F63-2D14D6124EDB}" srcOrd="0" destOrd="0" presId="urn:microsoft.com/office/officeart/2005/8/layout/hList1"/>
    <dgm:cxn modelId="{C24EF22E-E6CF-4F6C-8544-42648C375FFE}" type="presParOf" srcId="{D35306A0-C76F-455B-B423-3E5A164093C0}" destId="{966DEF06-BA1E-48C6-89B3-20241E7B8A9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98A85D-0914-40F4-9937-80D663886765}">
      <dsp:nvSpPr>
        <dsp:cNvPr id="0" name=""/>
        <dsp:cNvSpPr/>
      </dsp:nvSpPr>
      <dsp:spPr>
        <a:xfrm>
          <a:off x="47" y="48426"/>
          <a:ext cx="4522872" cy="6912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They provide</a:t>
          </a:r>
        </a:p>
      </dsp:txBody>
      <dsp:txXfrm>
        <a:off x="47" y="48426"/>
        <a:ext cx="4522872" cy="691200"/>
      </dsp:txXfrm>
    </dsp:sp>
    <dsp:sp modelId="{36C038E3-8E58-46F0-949A-BC4C60DB20F2}">
      <dsp:nvSpPr>
        <dsp:cNvPr id="0" name=""/>
        <dsp:cNvSpPr/>
      </dsp:nvSpPr>
      <dsp:spPr>
        <a:xfrm>
          <a:off x="47" y="739626"/>
          <a:ext cx="4522872" cy="1983605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/>
            <a:t>Access to their databas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/>
            <a:t>Their website as a testing ground</a:t>
          </a:r>
        </a:p>
      </dsp:txBody>
      <dsp:txXfrm>
        <a:off x="47" y="739626"/>
        <a:ext cx="4522872" cy="1983605"/>
      </dsp:txXfrm>
    </dsp:sp>
    <dsp:sp modelId="{89C8F00C-47CB-43AD-9F63-2D14D6124EDB}">
      <dsp:nvSpPr>
        <dsp:cNvPr id="0" name=""/>
        <dsp:cNvSpPr/>
      </dsp:nvSpPr>
      <dsp:spPr>
        <a:xfrm>
          <a:off x="5156121" y="48426"/>
          <a:ext cx="4522872" cy="6912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The Thesis</a:t>
          </a:r>
        </a:p>
      </dsp:txBody>
      <dsp:txXfrm>
        <a:off x="5156121" y="48426"/>
        <a:ext cx="4522872" cy="691200"/>
      </dsp:txXfrm>
    </dsp:sp>
    <dsp:sp modelId="{966DEF06-BA1E-48C6-89B3-20241E7B8A9A}">
      <dsp:nvSpPr>
        <dsp:cNvPr id="0" name=""/>
        <dsp:cNvSpPr/>
      </dsp:nvSpPr>
      <dsp:spPr>
        <a:xfrm>
          <a:off x="5156121" y="739626"/>
          <a:ext cx="4522872" cy="1983605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/>
            <a:t>Implement 3 different use-case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/>
            <a:t>Evaluate their impact on service quality and user interaction</a:t>
          </a:r>
        </a:p>
      </dsp:txBody>
      <dsp:txXfrm>
        <a:off x="5156121" y="739626"/>
        <a:ext cx="4522872" cy="19836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25568" y="189833"/>
            <a:ext cx="3496595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338830" y="189833"/>
            <a:ext cx="2208376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de-DE">
                <a:latin typeface="Arial Unicode MS" pitchFamily="34" charset="-128"/>
              </a:rPr>
              <a:pPr>
                <a:defRPr/>
              </a:pPr>
              <a:t>‹#›</a:t>
            </a:fld>
            <a:endParaRPr lang="de-DE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163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1288" y="769938"/>
            <a:ext cx="68167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685" y="4862015"/>
            <a:ext cx="5205932" cy="4605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Resource_Description_Framework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niqueness in text generation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lternative ideas for titles: </a:t>
            </a:r>
          </a:p>
          <a:p>
            <a:pPr>
              <a:buFont typeface="+mj-lt"/>
              <a:buAutoNum type="arabicPeriod"/>
            </a:pPr>
            <a:r>
              <a:rPr lang="en-US" dirty="0"/>
              <a:t>"Empowering User-Facing Applications in Startups through Advanced NLG Technology"</a:t>
            </a:r>
          </a:p>
          <a:p>
            <a:pPr>
              <a:buFont typeface="+mj-lt"/>
              <a:buAutoNum type="arabicPeriod"/>
            </a:pPr>
            <a:r>
              <a:rPr lang="en-US" dirty="0"/>
              <a:t>"Exploring the Potential of State-of-the-Art NLG Techniques in Enhancing User-Facing Applications for Startups"</a:t>
            </a:r>
          </a:p>
          <a:p>
            <a:pPr>
              <a:buFont typeface="+mj-lt"/>
              <a:buAutoNum type="arabicPeriod"/>
            </a:pPr>
            <a:r>
              <a:rPr lang="en-US" dirty="0"/>
              <a:t>"Maximizing User Engagement in Startup Ventures with Cutting-Edge NLG Technology"</a:t>
            </a:r>
          </a:p>
          <a:p>
            <a:pPr>
              <a:buFont typeface="+mj-lt"/>
              <a:buAutoNum type="arabicPeriod"/>
            </a:pPr>
            <a:r>
              <a:rPr lang="en-US" dirty="0"/>
              <a:t>"Unlocking the Power of Advanced NLG Technology for Seamless User Experiences in Startups"</a:t>
            </a:r>
          </a:p>
          <a:p>
            <a:pPr>
              <a:buFont typeface="+mj-lt"/>
              <a:buAutoNum type="arabicPeriod"/>
            </a:pPr>
            <a:r>
              <a:rPr lang="en-US" dirty="0"/>
              <a:t>"Driving Innovation in Startups: Harnessing State-of-the-Art NLG Techniques for User-Facing Applications“</a:t>
            </a:r>
          </a:p>
          <a:p>
            <a:pPr>
              <a:buFont typeface="+mj-lt"/>
              <a:buAutoNum type="arabicPeriod"/>
            </a:pPr>
            <a:endParaRPr lang="en-US" dirty="0"/>
          </a:p>
          <a:p>
            <a:pPr>
              <a:buFont typeface="+mj-lt"/>
              <a:buAutoNum type="arabicPeriod"/>
            </a:pPr>
            <a:r>
              <a:rPr lang="en-US" dirty="0"/>
              <a:t> 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mproving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anguage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iversity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ith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te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-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f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-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-art 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anguage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eneration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or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usiness</a:t>
            </a:r>
            <a:r>
              <a:rPr lang="de-DE" sz="1800" b="0" i="0" baseline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de-DE" sz="1800" b="0" i="0" baseline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-case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60024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>
                <a:sym typeface="Wingdings" panose="05000000000000000000" pitchFamily="2" charset="2"/>
              </a:rPr>
              <a:t>Teame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up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ith</a:t>
            </a:r>
            <a:r>
              <a:rPr lang="de-DE" dirty="0">
                <a:sym typeface="Wingdings" panose="05000000000000000000" pitchFamily="2" charset="2"/>
              </a:rPr>
              <a:t> an Industry </a:t>
            </a:r>
            <a:r>
              <a:rPr lang="de-DE" dirty="0" err="1">
                <a:sym typeface="Wingdings" panose="05000000000000000000" pitchFamily="2" charset="2"/>
              </a:rPr>
              <a:t>partn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Connactz</a:t>
            </a:r>
            <a:r>
              <a:rPr lang="de-DE" dirty="0">
                <a:sym typeface="Wingdings" panose="05000000000000000000" pitchFamily="2" charset="2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ym typeface="Wingdings" panose="05000000000000000000" pitchFamily="2" charset="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>
                <a:sym typeface="Wingdings" panose="05000000000000000000" pitchFamily="2" charset="2"/>
              </a:rPr>
              <a:t>Wheth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s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ask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ca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utomated</a:t>
            </a:r>
            <a:r>
              <a:rPr lang="de-DE" dirty="0">
                <a:sym typeface="Wingdings" panose="05000000000000000000" pitchFamily="2" charset="2"/>
              </a:rPr>
              <a:t> in a </a:t>
            </a:r>
            <a:r>
              <a:rPr lang="de-DE" dirty="0" err="1">
                <a:sym typeface="Wingdings" panose="05000000000000000000" pitchFamily="2" charset="2"/>
              </a:rPr>
              <a:t>productio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env</a:t>
            </a:r>
            <a:r>
              <a:rPr lang="de-DE" dirty="0">
                <a:sym typeface="Wingdings" panose="05000000000000000000" pitchFamily="2" charset="2"/>
              </a:rPr>
              <a:t>.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7418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85817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ubtask of NLG specializing in usage of structured data to create full sentence text.</a:t>
            </a:r>
          </a:p>
          <a:p>
            <a:endParaRPr lang="en-US" dirty="0"/>
          </a:p>
          <a:p>
            <a:r>
              <a:rPr lang="en-US" dirty="0"/>
              <a:t>Topic of ongoing research because difficult to create something with just a few key datapoints</a:t>
            </a:r>
          </a:p>
          <a:p>
            <a:r>
              <a:rPr lang="en-US" dirty="0">
                <a:sym typeface="Wingdings" panose="05000000000000000000" pitchFamily="2" charset="2"/>
              </a:rPr>
              <a:t> Expect a great benefit from models able to reproduce human-like language</a:t>
            </a:r>
            <a:endParaRPr lang="en-US" dirty="0"/>
          </a:p>
          <a:p>
            <a:endParaRPr lang="en-US" dirty="0"/>
          </a:p>
          <a:p>
            <a:r>
              <a:rPr lang="en-US" dirty="0"/>
              <a:t>	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1517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tter chance when it is a repetitive task</a:t>
            </a:r>
          </a:p>
          <a:p>
            <a:r>
              <a:rPr lang="en-US" dirty="0"/>
              <a:t>	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96646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tter chance when it is a repetitive task</a:t>
            </a:r>
          </a:p>
          <a:p>
            <a:r>
              <a:rPr lang="en-US" dirty="0"/>
              <a:t>	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17054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mplates: good results since interpretable/controllable but no creativity. Templates can be learned by machine learning models</a:t>
            </a:r>
          </a:p>
          <a:p>
            <a:r>
              <a:rPr lang="en-US" dirty="0" err="1"/>
              <a:t>PlanThenGen</a:t>
            </a:r>
            <a:r>
              <a:rPr lang="en-US" dirty="0"/>
              <a:t>: Planning phase can be about what data to use but also more </a:t>
            </a:r>
            <a:r>
              <a:rPr lang="en-US" dirty="0" err="1"/>
              <a:t>finegrained</a:t>
            </a:r>
            <a:endParaRPr lang="en-US" dirty="0"/>
          </a:p>
          <a:p>
            <a:r>
              <a:rPr lang="en-US" dirty="0"/>
              <a:t>LLMS: very little control on quality but usually creative and good enough for simple applications or drafts.</a:t>
            </a:r>
          </a:p>
          <a:p>
            <a:endParaRPr lang="en-US" dirty="0"/>
          </a:p>
          <a:p>
            <a:r>
              <a:rPr lang="en-US" dirty="0"/>
              <a:t>Controllability: </a:t>
            </a:r>
          </a:p>
          <a:p>
            <a:r>
              <a:rPr lang="en-US" dirty="0"/>
              <a:t>Variety: usually because of the training or the data</a:t>
            </a:r>
          </a:p>
          <a:p>
            <a:r>
              <a:rPr lang="en-US" dirty="0"/>
              <a:t>Lack of input data: model can’t mention my </a:t>
            </a:r>
            <a:r>
              <a:rPr lang="en-US" dirty="0" err="1"/>
              <a:t>favourite</a:t>
            </a:r>
            <a:r>
              <a:rPr lang="en-US" dirty="0"/>
              <a:t> pizza if its not in the dataset.</a:t>
            </a:r>
          </a:p>
          <a:p>
            <a:r>
              <a:rPr lang="en-US" dirty="0"/>
              <a:t>Evaluation: No established standard (for unsupervised)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24413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8395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Arial" pitchFamily="34" charset="0"/>
              </a:rPr>
              <a:t>We wish to investigate the viability of new methods in a production environmen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Arial" pitchFamily="34" charset="0"/>
              </a:rPr>
              <a:t>Ad | Conversation or Article | Numbers to tex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Arial" pitchFamily="34" charset="0"/>
              </a:rPr>
              <a:t>Press kit includes recent gig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Arial" pitchFamily="34" charset="0"/>
              </a:rPr>
              <a:t>Regional summary is about recent/upcoming gigs, popular bands/styles/</a:t>
            </a:r>
            <a:r>
              <a:rPr lang="en-US" dirty="0" err="1">
                <a:latin typeface="Arial" pitchFamily="34" charset="0"/>
              </a:rPr>
              <a:t>eventtypes</a:t>
            </a:r>
            <a:endParaRPr lang="en-DE" dirty="0">
              <a:latin typeface="Arial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925103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re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easu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mpact</a:t>
            </a:r>
            <a:r>
              <a:rPr lang="de-DE" dirty="0"/>
              <a:t> on </a:t>
            </a:r>
            <a:r>
              <a:rPr lang="de-DE" dirty="0" err="1"/>
              <a:t>users</a:t>
            </a:r>
            <a:r>
              <a:rPr lang="de-DE" dirty="0"/>
              <a:t>?</a:t>
            </a:r>
          </a:p>
          <a:p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popularity</a:t>
            </a:r>
            <a:r>
              <a:rPr lang="de-DE" dirty="0"/>
              <a:t>“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users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beca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?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64265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59530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85376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DO: Make nicer, maybe add another tabl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47696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>
                <a:hlinkClick r:id="rId3"/>
              </a:rPr>
              <a:t>Resource Description Framework</a:t>
            </a:r>
            <a:r>
              <a:rPr lang="fr-FR" dirty="0"/>
              <a:t> data model </a:t>
            </a:r>
            <a:r>
              <a:rPr lang="fr-FR" dirty="0">
                <a:sym typeface="Wingdings" panose="05000000000000000000" pitchFamily="2" charset="2"/>
              </a:rPr>
              <a:t> Linearize data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60258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itional data </a:t>
            </a:r>
            <a:r>
              <a:rPr lang="en-US" dirty="0">
                <a:sym typeface="Wingdings" panose="05000000000000000000" pitchFamily="2" charset="2"/>
              </a:rPr>
              <a:t> examples of good descriptions as an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57315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2) Some personal information/backstory is not know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ODO: add clarification (add, conversation</a:t>
            </a:r>
            <a:r>
              <a:rPr lang="en-US"/>
              <a:t>, resume…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621900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b="0" dirty="0"/>
              <a:t>BLEU: Bilingual Evaluation Understudy Score	</a:t>
            </a:r>
            <a:r>
              <a:rPr lang="fr-FR" b="0" dirty="0">
                <a:sym typeface="Wingdings" panose="05000000000000000000" pitchFamily="2" charset="2"/>
              </a:rPr>
              <a:t> Precision</a:t>
            </a:r>
            <a:endParaRPr lang="fr-FR" b="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/>
              <a:t>Rouge: Recall Oriented Understudy for </a:t>
            </a:r>
            <a:r>
              <a:rPr lang="en-US" b="0" dirty="0" err="1"/>
              <a:t>Gisting</a:t>
            </a:r>
            <a:r>
              <a:rPr lang="en-US" b="0" dirty="0"/>
              <a:t> Evaluation </a:t>
            </a:r>
            <a:r>
              <a:rPr lang="en-US" b="0" dirty="0">
                <a:sym typeface="Wingdings" panose="05000000000000000000" pitchFamily="2" charset="2"/>
              </a:rPr>
              <a:t> Recall</a:t>
            </a:r>
            <a:endParaRPr lang="en-US" b="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b="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0000"/>
                </a:solidFill>
                <a:latin typeface="Arial" pitchFamily="34" charset="0"/>
              </a:rPr>
              <a:t>What did I mean </a:t>
            </a:r>
            <a:r>
              <a:rPr lang="en-US">
                <a:solidFill>
                  <a:srgbClr val="FF0000"/>
                </a:solidFill>
                <a:latin typeface="Arial" pitchFamily="34" charset="0"/>
              </a:rPr>
              <a:t>by learned functions?</a:t>
            </a:r>
            <a:endParaRPr lang="en-US" dirty="0">
              <a:solidFill>
                <a:srgbClr val="FF0000"/>
              </a:solidFill>
              <a:latin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b="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b="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b="0" dirty="0"/>
              <a:t>The most popular evaluation metrics for NLG</a:t>
            </a:r>
          </a:p>
          <a:p>
            <a:endParaRPr lang="en-DE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77330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94070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plified query, cleaning and simple training of a T5 model with </a:t>
            </a:r>
            <a:r>
              <a:rPr lang="en-US" dirty="0" err="1"/>
              <a:t>adafactor</a:t>
            </a:r>
            <a:r>
              <a:rPr lang="en-US" dirty="0"/>
              <a:t> optimizer (recommended for T5)</a:t>
            </a:r>
          </a:p>
          <a:p>
            <a:r>
              <a:rPr lang="en-US" dirty="0"/>
              <a:t>Results aren’t good yet </a:t>
            </a:r>
            <a:r>
              <a:rPr lang="en-US" dirty="0">
                <a:sym typeface="Wingdings" panose="05000000000000000000" pitchFamily="2" charset="2"/>
              </a:rPr>
              <a:t> little training data, </a:t>
            </a:r>
            <a:r>
              <a:rPr lang="en-US" dirty="0" err="1"/>
              <a:t>german</a:t>
            </a:r>
            <a:r>
              <a:rPr lang="en-US" dirty="0"/>
              <a:t> 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105823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27085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: Data augmentation should probably start later and implementation earlier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59870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: Data augmentation should probably start later and implementation earlier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02638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Quick example: 3 DJs competing for my next party.</a:t>
            </a:r>
          </a:p>
          <a:p>
            <a:r>
              <a:rPr lang="en-GB" dirty="0"/>
              <a:t>Which </a:t>
            </a:r>
            <a:r>
              <a:rPr lang="en-GB" dirty="0" err="1"/>
              <a:t>Dj</a:t>
            </a:r>
            <a:r>
              <a:rPr lang="en-GB" dirty="0"/>
              <a:t> would you choose here?</a:t>
            </a:r>
          </a:p>
          <a:p>
            <a:r>
              <a:rPr lang="en-GB" dirty="0"/>
              <a:t>After quick inspection, DJ </a:t>
            </a:r>
            <a:r>
              <a:rPr lang="en-GB" dirty="0" err="1"/>
              <a:t>Walli</a:t>
            </a:r>
            <a:r>
              <a:rPr lang="en-GB" dirty="0"/>
              <a:t> is the only one that I get to know.</a:t>
            </a:r>
          </a:p>
          <a:p>
            <a:endParaRPr lang="en-GB" dirty="0"/>
          </a:p>
          <a:p>
            <a:r>
              <a:rPr lang="en-GB" dirty="0"/>
              <a:t>Highlights a problem: Users do not want to spend time setting up their account. </a:t>
            </a:r>
          </a:p>
          <a:p>
            <a:r>
              <a:rPr lang="en-GB" dirty="0"/>
              <a:t>Less opportunities for me, competition and quality of service for platf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623984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6758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4188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ompanies and </a:t>
            </a:r>
            <a:r>
              <a:rPr lang="de-DE" dirty="0" err="1"/>
              <a:t>platforms</a:t>
            </a:r>
            <a:r>
              <a:rPr lang="de-DE" dirty="0"/>
              <a:t> lack time and </a:t>
            </a:r>
            <a:r>
              <a:rPr lang="de-DE" dirty="0" err="1"/>
              <a:t>persone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repetitive </a:t>
            </a:r>
            <a:r>
              <a:rPr lang="de-DE" dirty="0" err="1"/>
              <a:t>tasks</a:t>
            </a:r>
            <a:r>
              <a:rPr lang="de-DE" dirty="0"/>
              <a:t> and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everage</a:t>
            </a:r>
            <a:r>
              <a:rPr lang="de-DE" dirty="0"/>
              <a:t> </a:t>
            </a:r>
            <a:r>
              <a:rPr lang="de-DE" dirty="0" err="1"/>
              <a:t>AI‘s</a:t>
            </a:r>
            <a:r>
              <a:rPr lang="de-DE" dirty="0"/>
              <a:t> power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mprove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products</a:t>
            </a:r>
            <a:r>
              <a:rPr lang="de-DE" dirty="0"/>
              <a:t> and </a:t>
            </a:r>
            <a:r>
              <a:rPr lang="de-DE" dirty="0" err="1"/>
              <a:t>services</a:t>
            </a:r>
            <a:r>
              <a:rPr lang="de-DE" dirty="0"/>
              <a:t>.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Users dislike spending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required</a:t>
            </a:r>
            <a:r>
              <a:rPr lang="de-DE" dirty="0">
                <a:sym typeface="Wingdings" panose="05000000000000000000" pitchFamily="2" charset="2"/>
              </a:rPr>
              <a:t> time </a:t>
            </a:r>
            <a:r>
              <a:rPr lang="de-DE" dirty="0" err="1">
                <a:sym typeface="Wingdings" panose="05000000000000000000" pitchFamily="2" charset="2"/>
              </a:rPr>
              <a:t>fo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etting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up</a:t>
            </a:r>
            <a:r>
              <a:rPr lang="de-DE" dirty="0">
                <a:sym typeface="Wingdings" panose="05000000000000000000" pitchFamily="2" charset="2"/>
              </a:rPr>
              <a:t> a high-quality </a:t>
            </a:r>
            <a:r>
              <a:rPr lang="de-DE" dirty="0" err="1">
                <a:sym typeface="Wingdings" panose="05000000000000000000" pitchFamily="2" charset="2"/>
              </a:rPr>
              <a:t>profile</a:t>
            </a:r>
            <a:endParaRPr lang="de-DE" dirty="0">
              <a:sym typeface="Wingdings" panose="05000000000000000000" pitchFamily="2" charset="2"/>
            </a:endParaRP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90867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ompanies and </a:t>
            </a:r>
            <a:r>
              <a:rPr lang="de-DE" dirty="0" err="1"/>
              <a:t>platforms</a:t>
            </a:r>
            <a:r>
              <a:rPr lang="de-DE" dirty="0"/>
              <a:t> lack time and </a:t>
            </a:r>
            <a:r>
              <a:rPr lang="de-DE" dirty="0" err="1"/>
              <a:t>persone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repetitive </a:t>
            </a:r>
            <a:r>
              <a:rPr lang="de-DE" dirty="0" err="1"/>
              <a:t>tasks</a:t>
            </a:r>
            <a:r>
              <a:rPr lang="de-DE" dirty="0"/>
              <a:t> and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everage</a:t>
            </a:r>
            <a:r>
              <a:rPr lang="de-DE" dirty="0"/>
              <a:t> </a:t>
            </a:r>
            <a:r>
              <a:rPr lang="de-DE" dirty="0" err="1"/>
              <a:t>AI‘s</a:t>
            </a:r>
            <a:r>
              <a:rPr lang="de-DE" dirty="0"/>
              <a:t> power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mprove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products</a:t>
            </a:r>
            <a:r>
              <a:rPr lang="de-DE" dirty="0"/>
              <a:t> and </a:t>
            </a:r>
            <a:r>
              <a:rPr lang="de-DE" dirty="0" err="1"/>
              <a:t>service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Can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helped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fill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template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missing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Users dislike spending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required</a:t>
            </a:r>
            <a:r>
              <a:rPr lang="de-DE" dirty="0">
                <a:sym typeface="Wingdings" panose="05000000000000000000" pitchFamily="2" charset="2"/>
              </a:rPr>
              <a:t> time </a:t>
            </a:r>
            <a:r>
              <a:rPr lang="de-DE" dirty="0" err="1">
                <a:sym typeface="Wingdings" panose="05000000000000000000" pitchFamily="2" charset="2"/>
              </a:rPr>
              <a:t>fo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etting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up</a:t>
            </a:r>
            <a:r>
              <a:rPr lang="de-DE" dirty="0">
                <a:sym typeface="Wingdings" panose="05000000000000000000" pitchFamily="2" charset="2"/>
              </a:rPr>
              <a:t> a high-quality </a:t>
            </a:r>
            <a:r>
              <a:rPr lang="de-DE" dirty="0" err="1">
                <a:sym typeface="Wingdings" panose="05000000000000000000" pitchFamily="2" charset="2"/>
              </a:rPr>
              <a:t>profile</a:t>
            </a:r>
            <a:endParaRPr lang="de-DE" dirty="0">
              <a:sym typeface="Wingdings" panose="05000000000000000000" pitchFamily="2" charset="2"/>
            </a:endParaRP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67249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emplates are a way of helping users but they get boring really fa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8542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NLG </a:t>
            </a:r>
            <a:r>
              <a:rPr lang="de-DE" dirty="0" err="1"/>
              <a:t>technology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advanced</a:t>
            </a:r>
            <a:r>
              <a:rPr lang="de-DE" dirty="0"/>
              <a:t> in </a:t>
            </a:r>
            <a:r>
              <a:rPr lang="de-DE" dirty="0" err="1"/>
              <a:t>great</a:t>
            </a:r>
            <a:r>
              <a:rPr lang="de-DE" dirty="0"/>
              <a:t> </a:t>
            </a:r>
            <a:r>
              <a:rPr lang="de-DE" dirty="0" err="1"/>
              <a:t>strid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ast </a:t>
            </a:r>
            <a:r>
              <a:rPr lang="de-DE" dirty="0" err="1"/>
              <a:t>few</a:t>
            </a:r>
            <a:r>
              <a:rPr lang="de-DE" dirty="0"/>
              <a:t> </a:t>
            </a:r>
            <a:r>
              <a:rPr lang="de-DE" dirty="0" err="1"/>
              <a:t>years</a:t>
            </a:r>
            <a:r>
              <a:rPr lang="de-DE" dirty="0"/>
              <a:t>, </a:t>
            </a:r>
            <a:r>
              <a:rPr lang="de-DE" dirty="0" err="1"/>
              <a:t>expanding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sentence</a:t>
            </a:r>
            <a:r>
              <a:rPr lang="de-DE" dirty="0"/>
              <a:t> </a:t>
            </a:r>
            <a:r>
              <a:rPr lang="de-DE" dirty="0" err="1"/>
              <a:t>genera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essays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2673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reat texts and diverse, but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21467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 err="1"/>
              <a:t>Chatgpt</a:t>
            </a:r>
            <a:r>
              <a:rPr lang="en-GB" sz="1200" b="0" dirty="0"/>
              <a:t> learns a pattern of jokes, not actual humou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200" b="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/>
              <a:t>Investigate whether current state-of-the-art models are sophisticated enough for deployment and contact with users. </a:t>
            </a:r>
          </a:p>
          <a:p>
            <a:endParaRPr lang="en-DE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79131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616" y="2"/>
            <a:ext cx="12192000" cy="685799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0"/>
            <a:ext cx="12192000" cy="4196080"/>
          </a:xfrm>
          <a:prstGeom prst="rect">
            <a:avLst/>
          </a:prstGeom>
          <a:gradFill flip="none" rotWithShape="1">
            <a:gsLst>
              <a:gs pos="23000">
                <a:schemeClr val="bg1">
                  <a:alpha val="85000"/>
                </a:schemeClr>
              </a:gs>
              <a:gs pos="93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31371" y="3538641"/>
            <a:ext cx="11432843" cy="679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144000" bIns="72000" anchor="b" anchorCtr="0">
            <a:spAutoFit/>
          </a:bodyPr>
          <a:lstStyle>
            <a:lvl1pPr marL="180000" algn="l">
              <a:defRPr sz="3000" b="0" i="0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noProof="0" dirty="0"/>
              <a:t>&lt;Title&gt;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373" y="4211796"/>
            <a:ext cx="11431346" cy="33855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>
            <a:spAutoFit/>
          </a:bodyPr>
          <a:lstStyle>
            <a:lvl1pPr marL="180000" indent="0">
              <a:buFontTx/>
              <a:buNone/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&lt;Presenter&gt; 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71" y="398812"/>
            <a:ext cx="997527" cy="32004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2"/>
            <a:ext cx="606858" cy="320055"/>
          </a:xfrm>
          <a:prstGeom prst="rect">
            <a:avLst/>
          </a:prstGeom>
        </p:spPr>
      </p:pic>
      <p:sp>
        <p:nvSpPr>
          <p:cNvPr id="25" name="Textfeld 24"/>
          <p:cNvSpPr txBox="1"/>
          <p:nvPr userDrawn="1"/>
        </p:nvSpPr>
        <p:spPr>
          <a:xfrm>
            <a:off x="425454" y="4643381"/>
            <a:ext cx="11438759" cy="14407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252000" tIns="180000" rIns="180000" bIns="180000" rtlCol="0">
            <a:spAutoFit/>
          </a:bodyPr>
          <a:lstStyle/>
          <a:p>
            <a:pPr marL="0" indent="0"/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Chair of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Software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Engineering for Business Information Systems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(sebis) </a:t>
            </a:r>
          </a:p>
          <a:p>
            <a:pPr marL="0" indent="0"/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Department of Computer Science</a:t>
            </a:r>
          </a:p>
          <a:p>
            <a:pPr marL="0" indent="0"/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School of Computation, Information and Technology (CIT) </a:t>
            </a:r>
            <a:endParaRPr lang="en-US" sz="1400" b="0" i="0" kern="1200" noProof="1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+mn-ea"/>
              <a:cs typeface="Arial"/>
            </a:endParaRPr>
          </a:p>
          <a:p>
            <a:pPr marL="0" indent="0"/>
            <a:r>
              <a:rPr lang="en-US" sz="1400" b="0" i="0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Technical University of Munich (TUM)</a:t>
            </a:r>
          </a:p>
          <a:p>
            <a:pPr marL="0" indent="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0" i="0" u="sng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www.matthes.in.tum.de</a:t>
            </a:r>
            <a:endParaRPr lang="en-US" sz="1400" b="0" i="0" u="sng" kern="1200" dirty="0" err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5" y="981076"/>
            <a:ext cx="11523135" cy="5400675"/>
          </a:xfrm>
        </p:spPr>
        <p:txBody>
          <a:bodyPr>
            <a:normAutofit/>
          </a:bodyPr>
          <a:lstStyle>
            <a:lvl1pPr>
              <a:defRPr>
                <a:latin typeface="+mn-lt"/>
              </a:defRPr>
            </a:lvl1pPr>
            <a:lvl2pPr>
              <a:buClr>
                <a:schemeClr val="tx2"/>
              </a:buClr>
              <a:defRPr lang="de-DE" sz="1800" dirty="0" smtClean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8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3"/>
            <a:ext cx="10586099" cy="36053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4" y="980728"/>
            <a:ext cx="11523133" cy="5400675"/>
          </a:xfrm>
        </p:spPr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441426"/>
            <a:ext cx="10586102" cy="395287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3"/>
            <a:ext cx="10586099" cy="36053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441426"/>
            <a:ext cx="10586102" cy="395287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182521498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0586102" cy="720725"/>
          </a:xfrm>
        </p:spPr>
        <p:txBody>
          <a:bodyPr/>
          <a:lstStyle>
            <a:lvl1pPr>
              <a:defRPr>
                <a:solidFill>
                  <a:srgbClr val="0065BD"/>
                </a:solidFill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34437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7602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34437" y="981074"/>
            <a:ext cx="5662084" cy="661976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34437" y="1643050"/>
            <a:ext cx="5662084" cy="47736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7" y="981079"/>
            <a:ext cx="5664200" cy="661975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6193367" y="1643050"/>
            <a:ext cx="5664200" cy="47736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/>
          <a:p>
            <a:r>
              <a:rPr lang="en-US" noProof="0" dirty="0"/>
              <a:t>&lt;Title&gt;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DE" noProof="0"/>
              <a:t>© sebis</a:t>
            </a:r>
            <a:endParaRPr lang="en-US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noProof="0"/>
              <a:t>20230628 Alexandre Mercier Using advanced NLG technology to push language diversity in user-facing applications</a:t>
            </a:r>
            <a:endParaRPr lang="en-US" noProof="0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0586102" cy="720725"/>
          </a:xfrm>
        </p:spPr>
        <p:txBody>
          <a:bodyPr/>
          <a:lstStyle/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F79391-FD8B-4951-B07A-A389C4C7CA7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3" y="44451"/>
            <a:ext cx="11523133" cy="652462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 noProof="0" dirty="0"/>
              <a:t>&lt;Title&gt;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26257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A43482B-6B16-589C-62E8-B635FEE77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4664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43482B-6B16-589C-62E8-B635FEE77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434" y="44451"/>
            <a:ext cx="1058610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434" y="981076"/>
            <a:ext cx="11523133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383184" y="6570616"/>
            <a:ext cx="214206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DE" noProof="0"/>
              <a:t>© sebis</a:t>
            </a:r>
            <a:endParaRPr lang="en-US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2903" y="6569076"/>
            <a:ext cx="576156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25251" y="6570616"/>
            <a:ext cx="33231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2"/>
            <a:ext cx="606858" cy="32005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81" r:id="rId4"/>
    <p:sldLayoutId id="2147483766" r:id="rId5"/>
    <p:sldLayoutId id="2147483767" r:id="rId6"/>
    <p:sldLayoutId id="2147483768" r:id="rId7"/>
    <p:sldLayoutId id="2147483780" r:id="rId8"/>
    <p:sldLayoutId id="2147483769" r:id="rId9"/>
    <p:sldLayoutId id="2147483771" r:id="rId10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rgbClr val="0065BD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10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0.bin"/><Relationship Id="rId9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9" Type="http://schemas.openxmlformats.org/officeDocument/2006/relationships/tags" Target="../tags/tag65.xml"/><Relationship Id="rId21" Type="http://schemas.openxmlformats.org/officeDocument/2006/relationships/tags" Target="../tags/tag47.xml"/><Relationship Id="rId34" Type="http://schemas.openxmlformats.org/officeDocument/2006/relationships/tags" Target="../tags/tag60.xml"/><Relationship Id="rId42" Type="http://schemas.openxmlformats.org/officeDocument/2006/relationships/tags" Target="../tags/tag68.xml"/><Relationship Id="rId47" Type="http://schemas.openxmlformats.org/officeDocument/2006/relationships/tags" Target="../tags/tag73.xml"/><Relationship Id="rId50" Type="http://schemas.openxmlformats.org/officeDocument/2006/relationships/tags" Target="../tags/tag76.xml"/><Relationship Id="rId55" Type="http://schemas.openxmlformats.org/officeDocument/2006/relationships/tags" Target="../tags/tag81.xml"/><Relationship Id="rId63" Type="http://schemas.openxmlformats.org/officeDocument/2006/relationships/tags" Target="../tags/tag89.xml"/><Relationship Id="rId68" Type="http://schemas.openxmlformats.org/officeDocument/2006/relationships/tags" Target="../tags/tag94.xml"/><Relationship Id="rId76" Type="http://schemas.openxmlformats.org/officeDocument/2006/relationships/notesSlide" Target="../notesSlides/notesSlide29.xml"/><Relationship Id="rId7" Type="http://schemas.openxmlformats.org/officeDocument/2006/relationships/tags" Target="../tags/tag33.xml"/><Relationship Id="rId71" Type="http://schemas.openxmlformats.org/officeDocument/2006/relationships/tags" Target="../tags/tag97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9" Type="http://schemas.openxmlformats.org/officeDocument/2006/relationships/tags" Target="../tags/tag55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tags" Target="../tags/tag58.xml"/><Relationship Id="rId37" Type="http://schemas.openxmlformats.org/officeDocument/2006/relationships/tags" Target="../tags/tag63.xml"/><Relationship Id="rId40" Type="http://schemas.openxmlformats.org/officeDocument/2006/relationships/tags" Target="../tags/tag66.xml"/><Relationship Id="rId45" Type="http://schemas.openxmlformats.org/officeDocument/2006/relationships/tags" Target="../tags/tag71.xml"/><Relationship Id="rId53" Type="http://schemas.openxmlformats.org/officeDocument/2006/relationships/tags" Target="../tags/tag79.xml"/><Relationship Id="rId58" Type="http://schemas.openxmlformats.org/officeDocument/2006/relationships/tags" Target="../tags/tag84.xml"/><Relationship Id="rId66" Type="http://schemas.openxmlformats.org/officeDocument/2006/relationships/tags" Target="../tags/tag92.xml"/><Relationship Id="rId74" Type="http://schemas.openxmlformats.org/officeDocument/2006/relationships/tags" Target="../tags/tag100.xml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36" Type="http://schemas.openxmlformats.org/officeDocument/2006/relationships/tags" Target="../tags/tag62.xml"/><Relationship Id="rId49" Type="http://schemas.openxmlformats.org/officeDocument/2006/relationships/tags" Target="../tags/tag75.xml"/><Relationship Id="rId57" Type="http://schemas.openxmlformats.org/officeDocument/2006/relationships/tags" Target="../tags/tag83.xml"/><Relationship Id="rId61" Type="http://schemas.openxmlformats.org/officeDocument/2006/relationships/tags" Target="../tags/tag87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tags" Target="../tags/tag57.xml"/><Relationship Id="rId44" Type="http://schemas.openxmlformats.org/officeDocument/2006/relationships/tags" Target="../tags/tag70.xml"/><Relationship Id="rId52" Type="http://schemas.openxmlformats.org/officeDocument/2006/relationships/tags" Target="../tags/tag78.xml"/><Relationship Id="rId60" Type="http://schemas.openxmlformats.org/officeDocument/2006/relationships/tags" Target="../tags/tag86.xml"/><Relationship Id="rId65" Type="http://schemas.openxmlformats.org/officeDocument/2006/relationships/tags" Target="../tags/tag91.xml"/><Relationship Id="rId73" Type="http://schemas.openxmlformats.org/officeDocument/2006/relationships/tags" Target="../tags/tag99.xml"/><Relationship Id="rId78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Relationship Id="rId35" Type="http://schemas.openxmlformats.org/officeDocument/2006/relationships/tags" Target="../tags/tag61.xml"/><Relationship Id="rId43" Type="http://schemas.openxmlformats.org/officeDocument/2006/relationships/tags" Target="../tags/tag69.xml"/><Relationship Id="rId48" Type="http://schemas.openxmlformats.org/officeDocument/2006/relationships/tags" Target="../tags/tag74.xml"/><Relationship Id="rId56" Type="http://schemas.openxmlformats.org/officeDocument/2006/relationships/tags" Target="../tags/tag82.xml"/><Relationship Id="rId64" Type="http://schemas.openxmlformats.org/officeDocument/2006/relationships/tags" Target="../tags/tag90.xml"/><Relationship Id="rId69" Type="http://schemas.openxmlformats.org/officeDocument/2006/relationships/tags" Target="../tags/tag95.xml"/><Relationship Id="rId77" Type="http://schemas.openxmlformats.org/officeDocument/2006/relationships/oleObject" Target="../embeddings/oleObject26.bin"/><Relationship Id="rId8" Type="http://schemas.openxmlformats.org/officeDocument/2006/relationships/tags" Target="../tags/tag34.xml"/><Relationship Id="rId51" Type="http://schemas.openxmlformats.org/officeDocument/2006/relationships/tags" Target="../tags/tag77.xml"/><Relationship Id="rId72" Type="http://schemas.openxmlformats.org/officeDocument/2006/relationships/tags" Target="../tags/tag98.xml"/><Relationship Id="rId3" Type="http://schemas.openxmlformats.org/officeDocument/2006/relationships/tags" Target="../tags/tag29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tags" Target="../tags/tag59.xml"/><Relationship Id="rId38" Type="http://schemas.openxmlformats.org/officeDocument/2006/relationships/tags" Target="../tags/tag64.xml"/><Relationship Id="rId46" Type="http://schemas.openxmlformats.org/officeDocument/2006/relationships/tags" Target="../tags/tag72.xml"/><Relationship Id="rId59" Type="http://schemas.openxmlformats.org/officeDocument/2006/relationships/tags" Target="../tags/tag85.xml"/><Relationship Id="rId67" Type="http://schemas.openxmlformats.org/officeDocument/2006/relationships/tags" Target="../tags/tag93.xml"/><Relationship Id="rId20" Type="http://schemas.openxmlformats.org/officeDocument/2006/relationships/tags" Target="../tags/tag46.xml"/><Relationship Id="rId41" Type="http://schemas.openxmlformats.org/officeDocument/2006/relationships/tags" Target="../tags/tag67.xml"/><Relationship Id="rId54" Type="http://schemas.openxmlformats.org/officeDocument/2006/relationships/tags" Target="../tags/tag80.xml"/><Relationship Id="rId62" Type="http://schemas.openxmlformats.org/officeDocument/2006/relationships/tags" Target="../tags/tag88.xml"/><Relationship Id="rId70" Type="http://schemas.openxmlformats.org/officeDocument/2006/relationships/tags" Target="../tags/tag96.xml"/><Relationship Id="rId75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tags" Target="../tags/tag3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matthes.in.tum.de/pages/ste22z023rd3/BEAMS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matthes.in.tum.de/pages/co7fr625vwih/Ha13g-Current-Tool-Support-for-Metrics-in-Enterprise-Architecture-Management" TargetMode="External"/><Relationship Id="rId5" Type="http://schemas.openxmlformats.org/officeDocument/2006/relationships/hyperlink" Target="https://wwwmatthes.in.tum.de/pages/19kw70p0u5vwv/EAM-KPI-Catalog" TargetMode="External"/><Relationship Id="rId4" Type="http://schemas.openxmlformats.org/officeDocument/2006/relationships/hyperlink" Target="https://wwwmatthes.in.tum.de/pages/3b4t6l34g936/EAM-Pattern-Catalog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hyperlink" Target="https://github.com/Mooler0410/LLMsPracticalGuide/blob/main/imgs/models-colorgrey.jpg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hyperlink" Target="http://arxiv.org/pdf/2306.04563v1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F17383-8114-3E75-825A-874E2665B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9428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F17383-8114-3E75-825A-874E2665B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431371" y="3015421"/>
            <a:ext cx="11432843" cy="1202994"/>
          </a:xfrm>
        </p:spPr>
        <p:txBody>
          <a:bodyPr vert="horz"/>
          <a:lstStyle/>
          <a:p>
            <a:r>
              <a:rPr lang="en-US" sz="3200" kern="1200">
                <a:solidFill>
                  <a:srgbClr val="000000"/>
                </a:solidFill>
                <a:effectLst/>
                <a:latin typeface="Arial Unicode MS"/>
                <a:ea typeface="+mn-ea"/>
                <a:cs typeface="+mn-cs"/>
              </a:rPr>
              <a:t>Investigating data to text approaches to achieve diversity of generated marketing text in the music industry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lexandre Mercier</a:t>
            </a:r>
          </a:p>
        </p:txBody>
      </p:sp>
      <p:sp>
        <p:nvSpPr>
          <p:cNvPr id="11" name="Textplatzhalter 15"/>
          <p:cNvSpPr txBox="1">
            <a:spLocks/>
          </p:cNvSpPr>
          <p:nvPr/>
        </p:nvSpPr>
        <p:spPr bwMode="auto">
          <a:xfrm>
            <a:off x="5922819" y="4210928"/>
            <a:ext cx="5941396" cy="33855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18000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914400" indent="0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137160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82880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en-AU" kern="0" dirty="0"/>
              <a:t>28. June 2023, Master thesis </a:t>
            </a:r>
            <a:r>
              <a:rPr lang="en-AU" kern="0" dirty="0" err="1"/>
              <a:t>Kickoff</a:t>
            </a:r>
            <a:endParaRPr lang="en-AU" kern="0" dirty="0"/>
          </a:p>
        </p:txBody>
      </p:sp>
    </p:spTree>
    <p:extLst>
      <p:ext uri="{BB962C8B-B14F-4D97-AF65-F5344CB8AC3E}">
        <p14:creationId xmlns:p14="http://schemas.microsoft.com/office/powerpoint/2010/main" val="1327605788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A4C8BDC-EF50-C589-9FB8-6A0504C743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2589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C8BDC-EF50-C589-9FB8-6A0504C743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5E5737-90A3-DD51-6FF0-6C031025B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Industry partn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F0847E-424B-CF57-4BC4-90E7D4C63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19228" y="1478396"/>
            <a:ext cx="3858999" cy="1368151"/>
          </a:xfrm>
        </p:spPr>
        <p:txBody>
          <a:bodyPr>
            <a:normAutofit fontScale="92500" lnSpcReduction="10000"/>
          </a:bodyPr>
          <a:lstStyle/>
          <a:p>
            <a:pPr algn="ctr"/>
            <a:r>
              <a:rPr lang="en-US" sz="2400" b="1" dirty="0">
                <a:latin typeface="Arial" pitchFamily="34" charset="0"/>
              </a:rPr>
              <a:t>Startup aiming to simplify how artists/bands connect with event organizers and locations. </a:t>
            </a:r>
          </a:p>
          <a:p>
            <a:pPr algn="ctr"/>
            <a:endParaRPr lang="en-GB" sz="2000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F6E5E8-E0B6-CE2A-BD3C-2B559ED92F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613A1B-36A6-3D5B-CB69-FCCD334804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943578-5E76-EE18-704C-0B718EF29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A5E3B2F-084E-357D-92E0-BAE46ED4AA40}"/>
              </a:ext>
            </a:extLst>
          </p:cNvPr>
          <p:cNvGrpSpPr/>
          <p:nvPr/>
        </p:nvGrpSpPr>
        <p:grpSpPr>
          <a:xfrm>
            <a:off x="1415480" y="1700808"/>
            <a:ext cx="4078043" cy="923330"/>
            <a:chOff x="2423592" y="1556792"/>
            <a:chExt cx="3816424" cy="864096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D085790B-B699-4D28-98A0-6B48803E9DE6}"/>
                </a:ext>
              </a:extLst>
            </p:cNvPr>
            <p:cNvSpPr/>
            <p:nvPr/>
          </p:nvSpPr>
          <p:spPr bwMode="auto">
            <a:xfrm>
              <a:off x="2423592" y="1556792"/>
              <a:ext cx="3816424" cy="864096"/>
            </a:xfrm>
            <a:prstGeom prst="roundRect">
              <a:avLst/>
            </a:prstGeom>
            <a:solidFill>
              <a:schemeClr val="tx1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DE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FE336B6-C4EE-7F70-5B23-DF893A0A4A1E}"/>
                </a:ext>
              </a:extLst>
            </p:cNvPr>
            <p:cNvSpPr/>
            <p:nvPr/>
          </p:nvSpPr>
          <p:spPr>
            <a:xfrm>
              <a:off x="2559108" y="1669752"/>
              <a:ext cx="638175" cy="638175"/>
            </a:xfrm>
            <a:custGeom>
              <a:avLst/>
              <a:gdLst>
                <a:gd name="connsiteX0" fmla="*/ 566738 w 638175"/>
                <a:gd name="connsiteY0" fmla="*/ 0 h 638175"/>
                <a:gd name="connsiteX1" fmla="*/ 71438 w 638175"/>
                <a:gd name="connsiteY1" fmla="*/ 0 h 638175"/>
                <a:gd name="connsiteX2" fmla="*/ 0 w 638175"/>
                <a:gd name="connsiteY2" fmla="*/ 71438 h 638175"/>
                <a:gd name="connsiteX3" fmla="*/ 0 w 638175"/>
                <a:gd name="connsiteY3" fmla="*/ 566738 h 638175"/>
                <a:gd name="connsiteX4" fmla="*/ 71438 w 638175"/>
                <a:gd name="connsiteY4" fmla="*/ 638175 h 638175"/>
                <a:gd name="connsiteX5" fmla="*/ 566738 w 638175"/>
                <a:gd name="connsiteY5" fmla="*/ 638175 h 638175"/>
                <a:gd name="connsiteX6" fmla="*/ 638175 w 638175"/>
                <a:gd name="connsiteY6" fmla="*/ 566738 h 638175"/>
                <a:gd name="connsiteX7" fmla="*/ 638175 w 638175"/>
                <a:gd name="connsiteY7" fmla="*/ 71438 h 638175"/>
                <a:gd name="connsiteX8" fmla="*/ 566738 w 638175"/>
                <a:gd name="connsiteY8" fmla="*/ 0 h 638175"/>
                <a:gd name="connsiteX9" fmla="*/ 319088 w 638175"/>
                <a:gd name="connsiteY9" fmla="*/ 530543 h 638175"/>
                <a:gd name="connsiteX10" fmla="*/ 107633 w 638175"/>
                <a:gd name="connsiteY10" fmla="*/ 319088 h 638175"/>
                <a:gd name="connsiteX11" fmla="*/ 319088 w 638175"/>
                <a:gd name="connsiteY11" fmla="*/ 107633 h 638175"/>
                <a:gd name="connsiteX12" fmla="*/ 527685 w 638175"/>
                <a:gd name="connsiteY12" fmla="*/ 280988 h 638175"/>
                <a:gd name="connsiteX13" fmla="*/ 494348 w 638175"/>
                <a:gd name="connsiteY13" fmla="*/ 280988 h 638175"/>
                <a:gd name="connsiteX14" fmla="*/ 280035 w 638175"/>
                <a:gd name="connsiteY14" fmla="*/ 143828 h 638175"/>
                <a:gd name="connsiteX15" fmla="*/ 142875 w 638175"/>
                <a:gd name="connsiteY15" fmla="*/ 357188 h 638175"/>
                <a:gd name="connsiteX16" fmla="*/ 357188 w 638175"/>
                <a:gd name="connsiteY16" fmla="*/ 494348 h 638175"/>
                <a:gd name="connsiteX17" fmla="*/ 494348 w 638175"/>
                <a:gd name="connsiteY17" fmla="*/ 357188 h 638175"/>
                <a:gd name="connsiteX18" fmla="*/ 526733 w 638175"/>
                <a:gd name="connsiteY18" fmla="*/ 357188 h 638175"/>
                <a:gd name="connsiteX19" fmla="*/ 319088 w 638175"/>
                <a:gd name="connsiteY19" fmla="*/ 530543 h 638175"/>
                <a:gd name="connsiteX20" fmla="*/ 375285 w 638175"/>
                <a:gd name="connsiteY20" fmla="*/ 319088 h 638175"/>
                <a:gd name="connsiteX21" fmla="*/ 319088 w 638175"/>
                <a:gd name="connsiteY21" fmla="*/ 375285 h 638175"/>
                <a:gd name="connsiteX22" fmla="*/ 262890 w 638175"/>
                <a:gd name="connsiteY22" fmla="*/ 319088 h 638175"/>
                <a:gd name="connsiteX23" fmla="*/ 319088 w 638175"/>
                <a:gd name="connsiteY23" fmla="*/ 262890 h 638175"/>
                <a:gd name="connsiteX24" fmla="*/ 319088 w 638175"/>
                <a:gd name="connsiteY24" fmla="*/ 262890 h 638175"/>
                <a:gd name="connsiteX25" fmla="*/ 375285 w 638175"/>
                <a:gd name="connsiteY25" fmla="*/ 319088 h 63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38175" h="638175">
                  <a:moveTo>
                    <a:pt x="566738" y="0"/>
                  </a:move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566738"/>
                  </a:lnTo>
                  <a:cubicBezTo>
                    <a:pt x="0" y="605790"/>
                    <a:pt x="32385" y="638175"/>
                    <a:pt x="71438" y="638175"/>
                  </a:cubicBezTo>
                  <a:lnTo>
                    <a:pt x="566738" y="638175"/>
                  </a:lnTo>
                  <a:cubicBezTo>
                    <a:pt x="605790" y="638175"/>
                    <a:pt x="638175" y="605790"/>
                    <a:pt x="638175" y="566738"/>
                  </a:cubicBezTo>
                  <a:lnTo>
                    <a:pt x="638175" y="71438"/>
                  </a:lnTo>
                  <a:cubicBezTo>
                    <a:pt x="638175" y="32385"/>
                    <a:pt x="605790" y="0"/>
                    <a:pt x="566738" y="0"/>
                  </a:cubicBezTo>
                  <a:close/>
                  <a:moveTo>
                    <a:pt x="319088" y="530543"/>
                  </a:moveTo>
                  <a:cubicBezTo>
                    <a:pt x="201930" y="530543"/>
                    <a:pt x="107633" y="436245"/>
                    <a:pt x="107633" y="319088"/>
                  </a:cubicBezTo>
                  <a:cubicBezTo>
                    <a:pt x="107633" y="201930"/>
                    <a:pt x="201930" y="107633"/>
                    <a:pt x="319088" y="107633"/>
                  </a:cubicBezTo>
                  <a:cubicBezTo>
                    <a:pt x="421005" y="107633"/>
                    <a:pt x="508635" y="180023"/>
                    <a:pt x="527685" y="280988"/>
                  </a:cubicBezTo>
                  <a:lnTo>
                    <a:pt x="494348" y="280988"/>
                  </a:lnTo>
                  <a:cubicBezTo>
                    <a:pt x="473393" y="183833"/>
                    <a:pt x="377190" y="122873"/>
                    <a:pt x="280035" y="143828"/>
                  </a:cubicBezTo>
                  <a:cubicBezTo>
                    <a:pt x="182880" y="164783"/>
                    <a:pt x="121920" y="260033"/>
                    <a:pt x="142875" y="357188"/>
                  </a:cubicBezTo>
                  <a:cubicBezTo>
                    <a:pt x="163830" y="454343"/>
                    <a:pt x="260033" y="515303"/>
                    <a:pt x="357188" y="494348"/>
                  </a:cubicBezTo>
                  <a:cubicBezTo>
                    <a:pt x="425768" y="479108"/>
                    <a:pt x="479108" y="425768"/>
                    <a:pt x="494348" y="357188"/>
                  </a:cubicBezTo>
                  <a:lnTo>
                    <a:pt x="526733" y="357188"/>
                  </a:lnTo>
                  <a:cubicBezTo>
                    <a:pt x="507683" y="457200"/>
                    <a:pt x="421005" y="530543"/>
                    <a:pt x="319088" y="530543"/>
                  </a:cubicBezTo>
                  <a:close/>
                  <a:moveTo>
                    <a:pt x="375285" y="319088"/>
                  </a:moveTo>
                  <a:cubicBezTo>
                    <a:pt x="375285" y="350520"/>
                    <a:pt x="350520" y="375285"/>
                    <a:pt x="319088" y="375285"/>
                  </a:cubicBezTo>
                  <a:cubicBezTo>
                    <a:pt x="287655" y="375285"/>
                    <a:pt x="262890" y="350520"/>
                    <a:pt x="262890" y="319088"/>
                  </a:cubicBezTo>
                  <a:cubicBezTo>
                    <a:pt x="262890" y="287655"/>
                    <a:pt x="287655" y="262890"/>
                    <a:pt x="319088" y="262890"/>
                  </a:cubicBezTo>
                  <a:lnTo>
                    <a:pt x="319088" y="262890"/>
                  </a:lnTo>
                  <a:cubicBezTo>
                    <a:pt x="349568" y="262890"/>
                    <a:pt x="374333" y="288608"/>
                    <a:pt x="375285" y="319088"/>
                  </a:cubicBezTo>
                  <a:close/>
                </a:path>
              </a:pathLst>
            </a:custGeom>
            <a:solidFill>
              <a:srgbClr val="E676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D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FCC95BD-ACC1-4212-19FA-27D4E42E2D05}"/>
                </a:ext>
              </a:extLst>
            </p:cNvPr>
            <p:cNvSpPr/>
            <p:nvPr/>
          </p:nvSpPr>
          <p:spPr>
            <a:xfrm>
              <a:off x="3359208" y="1850727"/>
              <a:ext cx="274320" cy="309562"/>
            </a:xfrm>
            <a:custGeom>
              <a:avLst/>
              <a:gdLst>
                <a:gd name="connsiteX0" fmla="*/ 75248 w 274320"/>
                <a:gd name="connsiteY0" fmla="*/ 289560 h 309562"/>
                <a:gd name="connsiteX1" fmla="*/ 20002 w 274320"/>
                <a:gd name="connsiteY1" fmla="*/ 234315 h 309562"/>
                <a:gd name="connsiteX2" fmla="*/ 0 w 274320"/>
                <a:gd name="connsiteY2" fmla="*/ 154305 h 309562"/>
                <a:gd name="connsiteX3" fmla="*/ 20002 w 274320"/>
                <a:gd name="connsiteY3" fmla="*/ 74295 h 309562"/>
                <a:gd name="connsiteX4" fmla="*/ 75248 w 274320"/>
                <a:gd name="connsiteY4" fmla="*/ 20003 h 309562"/>
                <a:gd name="connsiteX5" fmla="*/ 155258 w 274320"/>
                <a:gd name="connsiteY5" fmla="*/ 0 h 309562"/>
                <a:gd name="connsiteX6" fmla="*/ 225742 w 274320"/>
                <a:gd name="connsiteY6" fmla="*/ 15240 h 309562"/>
                <a:gd name="connsiteX7" fmla="*/ 274320 w 274320"/>
                <a:gd name="connsiteY7" fmla="*/ 60007 h 309562"/>
                <a:gd name="connsiteX8" fmla="*/ 243840 w 274320"/>
                <a:gd name="connsiteY8" fmla="*/ 80963 h 309562"/>
                <a:gd name="connsiteX9" fmla="*/ 205740 w 274320"/>
                <a:gd name="connsiteY9" fmla="*/ 47625 h 309562"/>
                <a:gd name="connsiteX10" fmla="*/ 155258 w 274320"/>
                <a:gd name="connsiteY10" fmla="*/ 36195 h 309562"/>
                <a:gd name="connsiteX11" fmla="*/ 96202 w 274320"/>
                <a:gd name="connsiteY11" fmla="*/ 50482 h 309562"/>
                <a:gd name="connsiteX12" fmla="*/ 55245 w 274320"/>
                <a:gd name="connsiteY12" fmla="*/ 92393 h 309562"/>
                <a:gd name="connsiteX13" fmla="*/ 40958 w 274320"/>
                <a:gd name="connsiteY13" fmla="*/ 154305 h 309562"/>
                <a:gd name="connsiteX14" fmla="*/ 55245 w 274320"/>
                <a:gd name="connsiteY14" fmla="*/ 216218 h 309562"/>
                <a:gd name="connsiteX15" fmla="*/ 96202 w 274320"/>
                <a:gd name="connsiteY15" fmla="*/ 258127 h 309562"/>
                <a:gd name="connsiteX16" fmla="*/ 155258 w 274320"/>
                <a:gd name="connsiteY16" fmla="*/ 272415 h 309562"/>
                <a:gd name="connsiteX17" fmla="*/ 205740 w 274320"/>
                <a:gd name="connsiteY17" fmla="*/ 261938 h 309562"/>
                <a:gd name="connsiteX18" fmla="*/ 243840 w 274320"/>
                <a:gd name="connsiteY18" fmla="*/ 228600 h 309562"/>
                <a:gd name="connsiteX19" fmla="*/ 274320 w 274320"/>
                <a:gd name="connsiteY19" fmla="*/ 249555 h 309562"/>
                <a:gd name="connsiteX20" fmla="*/ 225742 w 274320"/>
                <a:gd name="connsiteY20" fmla="*/ 294323 h 309562"/>
                <a:gd name="connsiteX21" fmla="*/ 156210 w 274320"/>
                <a:gd name="connsiteY21" fmla="*/ 309563 h 309562"/>
                <a:gd name="connsiteX22" fmla="*/ 75248 w 274320"/>
                <a:gd name="connsiteY22" fmla="*/ 289560 h 30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4320" h="309562">
                  <a:moveTo>
                    <a:pt x="75248" y="289560"/>
                  </a:moveTo>
                  <a:cubicBezTo>
                    <a:pt x="51435" y="276225"/>
                    <a:pt x="33338" y="258127"/>
                    <a:pt x="20002" y="234315"/>
                  </a:cubicBezTo>
                  <a:cubicBezTo>
                    <a:pt x="6667" y="210502"/>
                    <a:pt x="0" y="183833"/>
                    <a:pt x="0" y="154305"/>
                  </a:cubicBezTo>
                  <a:cubicBezTo>
                    <a:pt x="0" y="124777"/>
                    <a:pt x="6667" y="98107"/>
                    <a:pt x="20002" y="74295"/>
                  </a:cubicBezTo>
                  <a:cubicBezTo>
                    <a:pt x="33338" y="50482"/>
                    <a:pt x="52388" y="32385"/>
                    <a:pt x="75248" y="20003"/>
                  </a:cubicBezTo>
                  <a:cubicBezTo>
                    <a:pt x="98108" y="7620"/>
                    <a:pt x="125730" y="0"/>
                    <a:pt x="155258" y="0"/>
                  </a:cubicBezTo>
                  <a:cubicBezTo>
                    <a:pt x="180975" y="0"/>
                    <a:pt x="204788" y="4763"/>
                    <a:pt x="225742" y="15240"/>
                  </a:cubicBezTo>
                  <a:cubicBezTo>
                    <a:pt x="246698" y="25718"/>
                    <a:pt x="262890" y="40005"/>
                    <a:pt x="274320" y="60007"/>
                  </a:cubicBezTo>
                  <a:lnTo>
                    <a:pt x="243840" y="80963"/>
                  </a:lnTo>
                  <a:cubicBezTo>
                    <a:pt x="234315" y="65723"/>
                    <a:pt x="220980" y="54293"/>
                    <a:pt x="205740" y="47625"/>
                  </a:cubicBezTo>
                  <a:cubicBezTo>
                    <a:pt x="190500" y="40005"/>
                    <a:pt x="173355" y="36195"/>
                    <a:pt x="155258" y="36195"/>
                  </a:cubicBezTo>
                  <a:cubicBezTo>
                    <a:pt x="133350" y="36195"/>
                    <a:pt x="113348" y="40957"/>
                    <a:pt x="96202" y="50482"/>
                  </a:cubicBezTo>
                  <a:cubicBezTo>
                    <a:pt x="79058" y="60007"/>
                    <a:pt x="64770" y="74295"/>
                    <a:pt x="55245" y="92393"/>
                  </a:cubicBezTo>
                  <a:cubicBezTo>
                    <a:pt x="45720" y="110490"/>
                    <a:pt x="40958" y="131445"/>
                    <a:pt x="40958" y="154305"/>
                  </a:cubicBezTo>
                  <a:cubicBezTo>
                    <a:pt x="40958" y="178118"/>
                    <a:pt x="45720" y="198120"/>
                    <a:pt x="55245" y="216218"/>
                  </a:cubicBezTo>
                  <a:cubicBezTo>
                    <a:pt x="64770" y="234315"/>
                    <a:pt x="79058" y="247650"/>
                    <a:pt x="96202" y="258127"/>
                  </a:cubicBezTo>
                  <a:cubicBezTo>
                    <a:pt x="113348" y="267653"/>
                    <a:pt x="133350" y="272415"/>
                    <a:pt x="155258" y="272415"/>
                  </a:cubicBezTo>
                  <a:cubicBezTo>
                    <a:pt x="173355" y="272415"/>
                    <a:pt x="189548" y="268605"/>
                    <a:pt x="205740" y="261938"/>
                  </a:cubicBezTo>
                  <a:cubicBezTo>
                    <a:pt x="220980" y="254318"/>
                    <a:pt x="233363" y="243840"/>
                    <a:pt x="243840" y="228600"/>
                  </a:cubicBezTo>
                  <a:lnTo>
                    <a:pt x="274320" y="249555"/>
                  </a:lnTo>
                  <a:cubicBezTo>
                    <a:pt x="261938" y="269558"/>
                    <a:pt x="245745" y="283845"/>
                    <a:pt x="225742" y="294323"/>
                  </a:cubicBezTo>
                  <a:cubicBezTo>
                    <a:pt x="204788" y="304800"/>
                    <a:pt x="181927" y="309563"/>
                    <a:pt x="156210" y="309563"/>
                  </a:cubicBezTo>
                  <a:cubicBezTo>
                    <a:pt x="125730" y="309563"/>
                    <a:pt x="98108" y="302895"/>
                    <a:pt x="75248" y="28956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DE"/>
            </a:p>
          </p:txBody>
        </p:sp>
        <p:grpSp>
          <p:nvGrpSpPr>
            <p:cNvPr id="13" name="Content Placeholder 7">
              <a:extLst>
                <a:ext uri="{FF2B5EF4-FFF2-40B4-BE49-F238E27FC236}">
                  <a16:creationId xmlns:a16="http://schemas.microsoft.com/office/drawing/2014/main" id="{79FCF5DD-60A0-9459-E7E3-64E43419C0B8}"/>
                </a:ext>
              </a:extLst>
            </p:cNvPr>
            <p:cNvGrpSpPr/>
            <p:nvPr/>
          </p:nvGrpSpPr>
          <p:grpSpPr>
            <a:xfrm>
              <a:off x="3677343" y="1851679"/>
              <a:ext cx="670560" cy="308609"/>
              <a:chOff x="3677343" y="1851679"/>
              <a:chExt cx="670560" cy="308609"/>
            </a:xfrm>
            <a:solidFill>
              <a:srgbClr val="FFFFFF"/>
            </a:solidFill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D700C16-2809-ACEB-16D0-1A31E6DB15F9}"/>
                  </a:ext>
                </a:extLst>
              </p:cNvPr>
              <p:cNvSpPr/>
              <p:nvPr/>
            </p:nvSpPr>
            <p:spPr>
              <a:xfrm>
                <a:off x="3677343" y="1851679"/>
                <a:ext cx="308610" cy="308609"/>
              </a:xfrm>
              <a:custGeom>
                <a:avLst/>
                <a:gdLst>
                  <a:gd name="connsiteX0" fmla="*/ 75248 w 308610"/>
                  <a:gd name="connsiteY0" fmla="*/ 288608 h 308609"/>
                  <a:gd name="connsiteX1" fmla="*/ 20002 w 308610"/>
                  <a:gd name="connsiteY1" fmla="*/ 233362 h 308609"/>
                  <a:gd name="connsiteX2" fmla="*/ 0 w 308610"/>
                  <a:gd name="connsiteY2" fmla="*/ 154305 h 308609"/>
                  <a:gd name="connsiteX3" fmla="*/ 20002 w 308610"/>
                  <a:gd name="connsiteY3" fmla="*/ 74295 h 308609"/>
                  <a:gd name="connsiteX4" fmla="*/ 75248 w 308610"/>
                  <a:gd name="connsiteY4" fmla="*/ 20003 h 308609"/>
                  <a:gd name="connsiteX5" fmla="*/ 154305 w 308610"/>
                  <a:gd name="connsiteY5" fmla="*/ 0 h 308609"/>
                  <a:gd name="connsiteX6" fmla="*/ 233362 w 308610"/>
                  <a:gd name="connsiteY6" fmla="*/ 20003 h 308609"/>
                  <a:gd name="connsiteX7" fmla="*/ 288607 w 308610"/>
                  <a:gd name="connsiteY7" fmla="*/ 74295 h 308609"/>
                  <a:gd name="connsiteX8" fmla="*/ 308610 w 308610"/>
                  <a:gd name="connsiteY8" fmla="*/ 154305 h 308609"/>
                  <a:gd name="connsiteX9" fmla="*/ 288607 w 308610"/>
                  <a:gd name="connsiteY9" fmla="*/ 233362 h 308609"/>
                  <a:gd name="connsiteX10" fmla="*/ 233362 w 308610"/>
                  <a:gd name="connsiteY10" fmla="*/ 288608 h 308609"/>
                  <a:gd name="connsiteX11" fmla="*/ 154305 w 308610"/>
                  <a:gd name="connsiteY11" fmla="*/ 308610 h 308609"/>
                  <a:gd name="connsiteX12" fmla="*/ 75248 w 308610"/>
                  <a:gd name="connsiteY12" fmla="*/ 288608 h 308609"/>
                  <a:gd name="connsiteX13" fmla="*/ 212407 w 308610"/>
                  <a:gd name="connsiteY13" fmla="*/ 257175 h 308609"/>
                  <a:gd name="connsiteX14" fmla="*/ 252412 w 308610"/>
                  <a:gd name="connsiteY14" fmla="*/ 215265 h 308609"/>
                  <a:gd name="connsiteX15" fmla="*/ 266700 w 308610"/>
                  <a:gd name="connsiteY15" fmla="*/ 153353 h 308609"/>
                  <a:gd name="connsiteX16" fmla="*/ 252412 w 308610"/>
                  <a:gd name="connsiteY16" fmla="*/ 91440 h 308609"/>
                  <a:gd name="connsiteX17" fmla="*/ 212407 w 308610"/>
                  <a:gd name="connsiteY17" fmla="*/ 49530 h 308609"/>
                  <a:gd name="connsiteX18" fmla="*/ 154305 w 308610"/>
                  <a:gd name="connsiteY18" fmla="*/ 35242 h 308609"/>
                  <a:gd name="connsiteX19" fmla="*/ 96202 w 308610"/>
                  <a:gd name="connsiteY19" fmla="*/ 49530 h 308609"/>
                  <a:gd name="connsiteX20" fmla="*/ 56198 w 308610"/>
                  <a:gd name="connsiteY20" fmla="*/ 91440 h 308609"/>
                  <a:gd name="connsiteX21" fmla="*/ 41910 w 308610"/>
                  <a:gd name="connsiteY21" fmla="*/ 153353 h 308609"/>
                  <a:gd name="connsiteX22" fmla="*/ 56198 w 308610"/>
                  <a:gd name="connsiteY22" fmla="*/ 215265 h 308609"/>
                  <a:gd name="connsiteX23" fmla="*/ 96202 w 308610"/>
                  <a:gd name="connsiteY23" fmla="*/ 257175 h 308609"/>
                  <a:gd name="connsiteX24" fmla="*/ 154305 w 308610"/>
                  <a:gd name="connsiteY24" fmla="*/ 271462 h 308609"/>
                  <a:gd name="connsiteX25" fmla="*/ 212407 w 308610"/>
                  <a:gd name="connsiteY25" fmla="*/ 257175 h 308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08610" h="308609">
                    <a:moveTo>
                      <a:pt x="75248" y="288608"/>
                    </a:moveTo>
                    <a:cubicBezTo>
                      <a:pt x="51435" y="275273"/>
                      <a:pt x="33338" y="257175"/>
                      <a:pt x="20002" y="233362"/>
                    </a:cubicBezTo>
                    <a:cubicBezTo>
                      <a:pt x="6667" y="209550"/>
                      <a:pt x="0" y="183833"/>
                      <a:pt x="0" y="154305"/>
                    </a:cubicBezTo>
                    <a:cubicBezTo>
                      <a:pt x="0" y="124778"/>
                      <a:pt x="6667" y="98107"/>
                      <a:pt x="20002" y="74295"/>
                    </a:cubicBezTo>
                    <a:cubicBezTo>
                      <a:pt x="33338" y="50482"/>
                      <a:pt x="51435" y="32385"/>
                      <a:pt x="75248" y="20003"/>
                    </a:cubicBezTo>
                    <a:cubicBezTo>
                      <a:pt x="99060" y="6667"/>
                      <a:pt x="124777" y="0"/>
                      <a:pt x="154305" y="0"/>
                    </a:cubicBezTo>
                    <a:cubicBezTo>
                      <a:pt x="183832" y="0"/>
                      <a:pt x="209550" y="6667"/>
                      <a:pt x="233362" y="20003"/>
                    </a:cubicBezTo>
                    <a:cubicBezTo>
                      <a:pt x="257175" y="33338"/>
                      <a:pt x="275273" y="51435"/>
                      <a:pt x="288607" y="74295"/>
                    </a:cubicBezTo>
                    <a:cubicBezTo>
                      <a:pt x="301943" y="98107"/>
                      <a:pt x="308610" y="123825"/>
                      <a:pt x="308610" y="154305"/>
                    </a:cubicBezTo>
                    <a:cubicBezTo>
                      <a:pt x="308610" y="183833"/>
                      <a:pt x="301943" y="210503"/>
                      <a:pt x="288607" y="233362"/>
                    </a:cubicBezTo>
                    <a:cubicBezTo>
                      <a:pt x="275273" y="257175"/>
                      <a:pt x="257175" y="275273"/>
                      <a:pt x="233362" y="288608"/>
                    </a:cubicBezTo>
                    <a:cubicBezTo>
                      <a:pt x="209550" y="301943"/>
                      <a:pt x="183832" y="308610"/>
                      <a:pt x="154305" y="308610"/>
                    </a:cubicBezTo>
                    <a:cubicBezTo>
                      <a:pt x="125730" y="308610"/>
                      <a:pt x="99060" y="301943"/>
                      <a:pt x="75248" y="288608"/>
                    </a:cubicBezTo>
                    <a:close/>
                    <a:moveTo>
                      <a:pt x="212407" y="257175"/>
                    </a:moveTo>
                    <a:cubicBezTo>
                      <a:pt x="229552" y="247650"/>
                      <a:pt x="242887" y="233362"/>
                      <a:pt x="252412" y="215265"/>
                    </a:cubicBezTo>
                    <a:cubicBezTo>
                      <a:pt x="261937" y="197167"/>
                      <a:pt x="266700" y="176212"/>
                      <a:pt x="266700" y="153353"/>
                    </a:cubicBezTo>
                    <a:cubicBezTo>
                      <a:pt x="266700" y="130492"/>
                      <a:pt x="261937" y="109538"/>
                      <a:pt x="252412" y="91440"/>
                    </a:cubicBezTo>
                    <a:cubicBezTo>
                      <a:pt x="242887" y="73342"/>
                      <a:pt x="229552" y="59055"/>
                      <a:pt x="212407" y="49530"/>
                    </a:cubicBezTo>
                    <a:cubicBezTo>
                      <a:pt x="195262" y="40005"/>
                      <a:pt x="176212" y="35242"/>
                      <a:pt x="154305" y="35242"/>
                    </a:cubicBezTo>
                    <a:cubicBezTo>
                      <a:pt x="132398" y="35242"/>
                      <a:pt x="113348" y="40005"/>
                      <a:pt x="96202" y="49530"/>
                    </a:cubicBezTo>
                    <a:cubicBezTo>
                      <a:pt x="79057" y="59055"/>
                      <a:pt x="65723" y="73342"/>
                      <a:pt x="56198" y="91440"/>
                    </a:cubicBezTo>
                    <a:cubicBezTo>
                      <a:pt x="46673" y="109538"/>
                      <a:pt x="41910" y="130492"/>
                      <a:pt x="41910" y="153353"/>
                    </a:cubicBezTo>
                    <a:cubicBezTo>
                      <a:pt x="41910" y="176212"/>
                      <a:pt x="46673" y="197167"/>
                      <a:pt x="56198" y="215265"/>
                    </a:cubicBezTo>
                    <a:cubicBezTo>
                      <a:pt x="65723" y="233362"/>
                      <a:pt x="79057" y="247650"/>
                      <a:pt x="96202" y="257175"/>
                    </a:cubicBezTo>
                    <a:cubicBezTo>
                      <a:pt x="113348" y="266700"/>
                      <a:pt x="132398" y="271462"/>
                      <a:pt x="154305" y="271462"/>
                    </a:cubicBezTo>
                    <a:cubicBezTo>
                      <a:pt x="176212" y="271462"/>
                      <a:pt x="195262" y="266700"/>
                      <a:pt x="212407" y="2571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DE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25F8BDC2-6028-19CA-5D37-7627B3AAEAF9}"/>
                  </a:ext>
                </a:extLst>
              </p:cNvPr>
              <p:cNvSpPr/>
              <p:nvPr/>
            </p:nvSpPr>
            <p:spPr>
              <a:xfrm>
                <a:off x="4068820" y="1851679"/>
                <a:ext cx="279082" cy="305752"/>
              </a:xfrm>
              <a:custGeom>
                <a:avLst/>
                <a:gdLst>
                  <a:gd name="connsiteX0" fmla="*/ 245745 w 279082"/>
                  <a:gd name="connsiteY0" fmla="*/ 33338 h 305752"/>
                  <a:gd name="connsiteX1" fmla="*/ 279083 w 279082"/>
                  <a:gd name="connsiteY1" fmla="*/ 129540 h 305752"/>
                  <a:gd name="connsiteX2" fmla="*/ 279083 w 279082"/>
                  <a:gd name="connsiteY2" fmla="*/ 305753 h 305752"/>
                  <a:gd name="connsiteX3" fmla="*/ 238125 w 279082"/>
                  <a:gd name="connsiteY3" fmla="*/ 305753 h 305752"/>
                  <a:gd name="connsiteX4" fmla="*/ 238125 w 279082"/>
                  <a:gd name="connsiteY4" fmla="*/ 134303 h 305752"/>
                  <a:gd name="connsiteX5" fmla="*/ 214313 w 279082"/>
                  <a:gd name="connsiteY5" fmla="*/ 61913 h 305752"/>
                  <a:gd name="connsiteX6" fmla="*/ 146685 w 279082"/>
                  <a:gd name="connsiteY6" fmla="*/ 37147 h 305752"/>
                  <a:gd name="connsiteX7" fmla="*/ 69533 w 279082"/>
                  <a:gd name="connsiteY7" fmla="*/ 66675 h 305752"/>
                  <a:gd name="connsiteX8" fmla="*/ 40958 w 279082"/>
                  <a:gd name="connsiteY8" fmla="*/ 146685 h 305752"/>
                  <a:gd name="connsiteX9" fmla="*/ 40958 w 279082"/>
                  <a:gd name="connsiteY9" fmla="*/ 305753 h 305752"/>
                  <a:gd name="connsiteX10" fmla="*/ 0 w 279082"/>
                  <a:gd name="connsiteY10" fmla="*/ 305753 h 305752"/>
                  <a:gd name="connsiteX11" fmla="*/ 0 w 279082"/>
                  <a:gd name="connsiteY11" fmla="*/ 1905 h 305752"/>
                  <a:gd name="connsiteX12" fmla="*/ 39053 w 279082"/>
                  <a:gd name="connsiteY12" fmla="*/ 1905 h 305752"/>
                  <a:gd name="connsiteX13" fmla="*/ 39053 w 279082"/>
                  <a:gd name="connsiteY13" fmla="*/ 58103 h 305752"/>
                  <a:gd name="connsiteX14" fmla="*/ 85725 w 279082"/>
                  <a:gd name="connsiteY14" fmla="*/ 15240 h 305752"/>
                  <a:gd name="connsiteX15" fmla="*/ 154305 w 279082"/>
                  <a:gd name="connsiteY15" fmla="*/ 0 h 305752"/>
                  <a:gd name="connsiteX16" fmla="*/ 245745 w 279082"/>
                  <a:gd name="connsiteY16" fmla="*/ 33338 h 30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9082" h="305752">
                    <a:moveTo>
                      <a:pt x="245745" y="33338"/>
                    </a:moveTo>
                    <a:cubicBezTo>
                      <a:pt x="268605" y="55245"/>
                      <a:pt x="279083" y="87630"/>
                      <a:pt x="279083" y="129540"/>
                    </a:cubicBezTo>
                    <a:lnTo>
                      <a:pt x="279083" y="305753"/>
                    </a:lnTo>
                    <a:lnTo>
                      <a:pt x="238125" y="305753"/>
                    </a:lnTo>
                    <a:lnTo>
                      <a:pt x="238125" y="134303"/>
                    </a:lnTo>
                    <a:cubicBezTo>
                      <a:pt x="238125" y="102870"/>
                      <a:pt x="230505" y="79057"/>
                      <a:pt x="214313" y="61913"/>
                    </a:cubicBezTo>
                    <a:cubicBezTo>
                      <a:pt x="198120" y="45720"/>
                      <a:pt x="176213" y="37147"/>
                      <a:pt x="146685" y="37147"/>
                    </a:cubicBezTo>
                    <a:cubicBezTo>
                      <a:pt x="114300" y="37147"/>
                      <a:pt x="88583" y="46672"/>
                      <a:pt x="69533" y="66675"/>
                    </a:cubicBezTo>
                    <a:cubicBezTo>
                      <a:pt x="50483" y="85725"/>
                      <a:pt x="40958" y="113348"/>
                      <a:pt x="40958" y="146685"/>
                    </a:cubicBezTo>
                    <a:lnTo>
                      <a:pt x="40958" y="305753"/>
                    </a:lnTo>
                    <a:lnTo>
                      <a:pt x="0" y="305753"/>
                    </a:lnTo>
                    <a:lnTo>
                      <a:pt x="0" y="1905"/>
                    </a:lnTo>
                    <a:lnTo>
                      <a:pt x="39053" y="1905"/>
                    </a:lnTo>
                    <a:lnTo>
                      <a:pt x="39053" y="58103"/>
                    </a:lnTo>
                    <a:cubicBezTo>
                      <a:pt x="50483" y="40005"/>
                      <a:pt x="65722" y="25717"/>
                      <a:pt x="85725" y="15240"/>
                    </a:cubicBezTo>
                    <a:cubicBezTo>
                      <a:pt x="105728" y="4763"/>
                      <a:pt x="128588" y="0"/>
                      <a:pt x="154305" y="0"/>
                    </a:cubicBezTo>
                    <a:cubicBezTo>
                      <a:pt x="193358" y="0"/>
                      <a:pt x="222885" y="10478"/>
                      <a:pt x="245745" y="333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DE"/>
              </a:p>
            </p:txBody>
          </p:sp>
        </p:grp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07B1D4B-DDC3-9BE0-6B07-114F00A86E4F}"/>
                </a:ext>
              </a:extLst>
            </p:cNvPr>
            <p:cNvSpPr/>
            <p:nvPr/>
          </p:nvSpPr>
          <p:spPr>
            <a:xfrm>
              <a:off x="4459345" y="1851679"/>
              <a:ext cx="279082" cy="305752"/>
            </a:xfrm>
            <a:custGeom>
              <a:avLst/>
              <a:gdLst>
                <a:gd name="connsiteX0" fmla="*/ 245745 w 279082"/>
                <a:gd name="connsiteY0" fmla="*/ 33338 h 305752"/>
                <a:gd name="connsiteX1" fmla="*/ 279083 w 279082"/>
                <a:gd name="connsiteY1" fmla="*/ 129540 h 305752"/>
                <a:gd name="connsiteX2" fmla="*/ 279083 w 279082"/>
                <a:gd name="connsiteY2" fmla="*/ 305753 h 305752"/>
                <a:gd name="connsiteX3" fmla="*/ 238125 w 279082"/>
                <a:gd name="connsiteY3" fmla="*/ 305753 h 305752"/>
                <a:gd name="connsiteX4" fmla="*/ 238125 w 279082"/>
                <a:gd name="connsiteY4" fmla="*/ 134303 h 305752"/>
                <a:gd name="connsiteX5" fmla="*/ 214313 w 279082"/>
                <a:gd name="connsiteY5" fmla="*/ 61913 h 305752"/>
                <a:gd name="connsiteX6" fmla="*/ 146685 w 279082"/>
                <a:gd name="connsiteY6" fmla="*/ 37147 h 305752"/>
                <a:gd name="connsiteX7" fmla="*/ 69533 w 279082"/>
                <a:gd name="connsiteY7" fmla="*/ 66675 h 305752"/>
                <a:gd name="connsiteX8" fmla="*/ 40958 w 279082"/>
                <a:gd name="connsiteY8" fmla="*/ 146685 h 305752"/>
                <a:gd name="connsiteX9" fmla="*/ 40958 w 279082"/>
                <a:gd name="connsiteY9" fmla="*/ 305753 h 305752"/>
                <a:gd name="connsiteX10" fmla="*/ 0 w 279082"/>
                <a:gd name="connsiteY10" fmla="*/ 305753 h 305752"/>
                <a:gd name="connsiteX11" fmla="*/ 0 w 279082"/>
                <a:gd name="connsiteY11" fmla="*/ 1905 h 305752"/>
                <a:gd name="connsiteX12" fmla="*/ 39053 w 279082"/>
                <a:gd name="connsiteY12" fmla="*/ 1905 h 305752"/>
                <a:gd name="connsiteX13" fmla="*/ 39053 w 279082"/>
                <a:gd name="connsiteY13" fmla="*/ 58103 h 305752"/>
                <a:gd name="connsiteX14" fmla="*/ 85725 w 279082"/>
                <a:gd name="connsiteY14" fmla="*/ 15240 h 305752"/>
                <a:gd name="connsiteX15" fmla="*/ 154305 w 279082"/>
                <a:gd name="connsiteY15" fmla="*/ 0 h 305752"/>
                <a:gd name="connsiteX16" fmla="*/ 245745 w 279082"/>
                <a:gd name="connsiteY16" fmla="*/ 33338 h 30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082" h="305752">
                  <a:moveTo>
                    <a:pt x="245745" y="33338"/>
                  </a:moveTo>
                  <a:cubicBezTo>
                    <a:pt x="268605" y="55245"/>
                    <a:pt x="279083" y="87630"/>
                    <a:pt x="279083" y="129540"/>
                  </a:cubicBezTo>
                  <a:lnTo>
                    <a:pt x="279083" y="305753"/>
                  </a:lnTo>
                  <a:lnTo>
                    <a:pt x="238125" y="305753"/>
                  </a:lnTo>
                  <a:lnTo>
                    <a:pt x="238125" y="134303"/>
                  </a:lnTo>
                  <a:cubicBezTo>
                    <a:pt x="238125" y="102870"/>
                    <a:pt x="230505" y="79057"/>
                    <a:pt x="214313" y="61913"/>
                  </a:cubicBezTo>
                  <a:cubicBezTo>
                    <a:pt x="198120" y="45720"/>
                    <a:pt x="176213" y="37147"/>
                    <a:pt x="146685" y="37147"/>
                  </a:cubicBezTo>
                  <a:cubicBezTo>
                    <a:pt x="114300" y="37147"/>
                    <a:pt x="88583" y="46672"/>
                    <a:pt x="69533" y="66675"/>
                  </a:cubicBezTo>
                  <a:cubicBezTo>
                    <a:pt x="50483" y="85725"/>
                    <a:pt x="40958" y="113348"/>
                    <a:pt x="40958" y="146685"/>
                  </a:cubicBezTo>
                  <a:lnTo>
                    <a:pt x="40958" y="305753"/>
                  </a:lnTo>
                  <a:lnTo>
                    <a:pt x="0" y="305753"/>
                  </a:lnTo>
                  <a:lnTo>
                    <a:pt x="0" y="1905"/>
                  </a:lnTo>
                  <a:lnTo>
                    <a:pt x="39053" y="1905"/>
                  </a:lnTo>
                  <a:lnTo>
                    <a:pt x="39053" y="58103"/>
                  </a:lnTo>
                  <a:cubicBezTo>
                    <a:pt x="50483" y="40005"/>
                    <a:pt x="65722" y="25717"/>
                    <a:pt x="85725" y="15240"/>
                  </a:cubicBezTo>
                  <a:cubicBezTo>
                    <a:pt x="105728" y="4763"/>
                    <a:pt x="128588" y="0"/>
                    <a:pt x="154305" y="0"/>
                  </a:cubicBezTo>
                  <a:cubicBezTo>
                    <a:pt x="192405" y="0"/>
                    <a:pt x="222885" y="10478"/>
                    <a:pt x="245745" y="3333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DE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CDDC5D8-ECC1-4349-C53C-A2A5AA595A6D}"/>
                </a:ext>
              </a:extLst>
            </p:cNvPr>
            <p:cNvSpPr/>
            <p:nvPr/>
          </p:nvSpPr>
          <p:spPr>
            <a:xfrm>
              <a:off x="4821295" y="1852632"/>
              <a:ext cx="311467" cy="308609"/>
            </a:xfrm>
            <a:custGeom>
              <a:avLst/>
              <a:gdLst>
                <a:gd name="connsiteX0" fmla="*/ 136208 w 311467"/>
                <a:gd name="connsiteY0" fmla="*/ 0 h 308609"/>
                <a:gd name="connsiteX1" fmla="*/ 235268 w 311467"/>
                <a:gd name="connsiteY1" fmla="*/ 47625 h 308609"/>
                <a:gd name="connsiteX2" fmla="*/ 235268 w 311467"/>
                <a:gd name="connsiteY2" fmla="*/ 4763 h 308609"/>
                <a:gd name="connsiteX3" fmla="*/ 311468 w 311467"/>
                <a:gd name="connsiteY3" fmla="*/ 4763 h 308609"/>
                <a:gd name="connsiteX4" fmla="*/ 311468 w 311467"/>
                <a:gd name="connsiteY4" fmla="*/ 303847 h 308609"/>
                <a:gd name="connsiteX5" fmla="*/ 235268 w 311467"/>
                <a:gd name="connsiteY5" fmla="*/ 303847 h 308609"/>
                <a:gd name="connsiteX6" fmla="*/ 235268 w 311467"/>
                <a:gd name="connsiteY6" fmla="*/ 260033 h 308609"/>
                <a:gd name="connsiteX7" fmla="*/ 136208 w 311467"/>
                <a:gd name="connsiteY7" fmla="*/ 308610 h 308609"/>
                <a:gd name="connsiteX8" fmla="*/ 0 w 311467"/>
                <a:gd name="connsiteY8" fmla="*/ 153352 h 308609"/>
                <a:gd name="connsiteX9" fmla="*/ 136208 w 311467"/>
                <a:gd name="connsiteY9" fmla="*/ 0 h 308609"/>
                <a:gd name="connsiteX10" fmla="*/ 155258 w 311467"/>
                <a:gd name="connsiteY10" fmla="*/ 66675 h 308609"/>
                <a:gd name="connsiteX11" fmla="*/ 76200 w 311467"/>
                <a:gd name="connsiteY11" fmla="*/ 153352 h 308609"/>
                <a:gd name="connsiteX12" fmla="*/ 155258 w 311467"/>
                <a:gd name="connsiteY12" fmla="*/ 242888 h 308609"/>
                <a:gd name="connsiteX13" fmla="*/ 234315 w 311467"/>
                <a:gd name="connsiteY13" fmla="*/ 155258 h 308609"/>
                <a:gd name="connsiteX14" fmla="*/ 155258 w 311467"/>
                <a:gd name="connsiteY14" fmla="*/ 66675 h 30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467" h="308609">
                  <a:moveTo>
                    <a:pt x="136208" y="0"/>
                  </a:moveTo>
                  <a:cubicBezTo>
                    <a:pt x="183832" y="0"/>
                    <a:pt x="217170" y="22860"/>
                    <a:pt x="235268" y="47625"/>
                  </a:cubicBezTo>
                  <a:lnTo>
                    <a:pt x="235268" y="4763"/>
                  </a:lnTo>
                  <a:lnTo>
                    <a:pt x="311468" y="4763"/>
                  </a:lnTo>
                  <a:lnTo>
                    <a:pt x="311468" y="303847"/>
                  </a:lnTo>
                  <a:lnTo>
                    <a:pt x="235268" y="303847"/>
                  </a:lnTo>
                  <a:lnTo>
                    <a:pt x="235268" y="260033"/>
                  </a:lnTo>
                  <a:cubicBezTo>
                    <a:pt x="217170" y="285750"/>
                    <a:pt x="183832" y="308610"/>
                    <a:pt x="136208" y="308610"/>
                  </a:cubicBezTo>
                  <a:cubicBezTo>
                    <a:pt x="60960" y="308610"/>
                    <a:pt x="0" y="246697"/>
                    <a:pt x="0" y="153352"/>
                  </a:cubicBezTo>
                  <a:cubicBezTo>
                    <a:pt x="0" y="60007"/>
                    <a:pt x="60008" y="0"/>
                    <a:pt x="136208" y="0"/>
                  </a:cubicBezTo>
                  <a:close/>
                  <a:moveTo>
                    <a:pt x="155258" y="66675"/>
                  </a:moveTo>
                  <a:cubicBezTo>
                    <a:pt x="114300" y="66675"/>
                    <a:pt x="76200" y="97155"/>
                    <a:pt x="76200" y="153352"/>
                  </a:cubicBezTo>
                  <a:cubicBezTo>
                    <a:pt x="76200" y="210502"/>
                    <a:pt x="114300" y="242888"/>
                    <a:pt x="155258" y="242888"/>
                  </a:cubicBezTo>
                  <a:cubicBezTo>
                    <a:pt x="197168" y="242888"/>
                    <a:pt x="234315" y="211455"/>
                    <a:pt x="234315" y="155258"/>
                  </a:cubicBezTo>
                  <a:cubicBezTo>
                    <a:pt x="235268" y="98107"/>
                    <a:pt x="197168" y="66675"/>
                    <a:pt x="155258" y="666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DE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280D026-8BD1-743A-D677-BAA03D9C8E87}"/>
                </a:ext>
              </a:extLst>
            </p:cNvPr>
            <p:cNvSpPr/>
            <p:nvPr/>
          </p:nvSpPr>
          <p:spPr>
            <a:xfrm>
              <a:off x="5183245" y="1841202"/>
              <a:ext cx="311467" cy="317835"/>
            </a:xfrm>
            <a:custGeom>
              <a:avLst/>
              <a:gdLst>
                <a:gd name="connsiteX0" fmla="*/ 83820 w 311467"/>
                <a:gd name="connsiteY0" fmla="*/ 300038 h 317835"/>
                <a:gd name="connsiteX1" fmla="*/ 21907 w 311467"/>
                <a:gd name="connsiteY1" fmla="*/ 242888 h 317835"/>
                <a:gd name="connsiteX2" fmla="*/ 0 w 311467"/>
                <a:gd name="connsiteY2" fmla="*/ 160020 h 317835"/>
                <a:gd name="connsiteX3" fmla="*/ 21907 w 311467"/>
                <a:gd name="connsiteY3" fmla="*/ 77153 h 317835"/>
                <a:gd name="connsiteX4" fmla="*/ 83820 w 311467"/>
                <a:gd name="connsiteY4" fmla="*/ 20003 h 317835"/>
                <a:gd name="connsiteX5" fmla="*/ 172403 w 311467"/>
                <a:gd name="connsiteY5" fmla="*/ 0 h 317835"/>
                <a:gd name="connsiteX6" fmla="*/ 258128 w 311467"/>
                <a:gd name="connsiteY6" fmla="*/ 20003 h 317835"/>
                <a:gd name="connsiteX7" fmla="*/ 311468 w 311467"/>
                <a:gd name="connsiteY7" fmla="*/ 78105 h 317835"/>
                <a:gd name="connsiteX8" fmla="*/ 241935 w 311467"/>
                <a:gd name="connsiteY8" fmla="*/ 115253 h 317835"/>
                <a:gd name="connsiteX9" fmla="*/ 172403 w 311467"/>
                <a:gd name="connsiteY9" fmla="*/ 72390 h 317835"/>
                <a:gd name="connsiteX10" fmla="*/ 114300 w 311467"/>
                <a:gd name="connsiteY10" fmla="*/ 95250 h 317835"/>
                <a:gd name="connsiteX11" fmla="*/ 91440 w 311467"/>
                <a:gd name="connsiteY11" fmla="*/ 158115 h 317835"/>
                <a:gd name="connsiteX12" fmla="*/ 114300 w 311467"/>
                <a:gd name="connsiteY12" fmla="*/ 220980 h 317835"/>
                <a:gd name="connsiteX13" fmla="*/ 172403 w 311467"/>
                <a:gd name="connsiteY13" fmla="*/ 243840 h 317835"/>
                <a:gd name="connsiteX14" fmla="*/ 241935 w 311467"/>
                <a:gd name="connsiteY14" fmla="*/ 200977 h 317835"/>
                <a:gd name="connsiteX15" fmla="*/ 311468 w 311467"/>
                <a:gd name="connsiteY15" fmla="*/ 239077 h 317835"/>
                <a:gd name="connsiteX16" fmla="*/ 258128 w 311467"/>
                <a:gd name="connsiteY16" fmla="*/ 296228 h 317835"/>
                <a:gd name="connsiteX17" fmla="*/ 172403 w 311467"/>
                <a:gd name="connsiteY17" fmla="*/ 317183 h 317835"/>
                <a:gd name="connsiteX18" fmla="*/ 83820 w 311467"/>
                <a:gd name="connsiteY18" fmla="*/ 300038 h 31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11467" h="317835">
                  <a:moveTo>
                    <a:pt x="83820" y="300038"/>
                  </a:moveTo>
                  <a:cubicBezTo>
                    <a:pt x="57150" y="286703"/>
                    <a:pt x="37147" y="267653"/>
                    <a:pt x="21907" y="242888"/>
                  </a:cubicBezTo>
                  <a:cubicBezTo>
                    <a:pt x="6668" y="219075"/>
                    <a:pt x="0" y="191452"/>
                    <a:pt x="0" y="160020"/>
                  </a:cubicBezTo>
                  <a:cubicBezTo>
                    <a:pt x="0" y="129540"/>
                    <a:pt x="7620" y="101918"/>
                    <a:pt x="21907" y="77153"/>
                  </a:cubicBezTo>
                  <a:cubicBezTo>
                    <a:pt x="37147" y="53340"/>
                    <a:pt x="57150" y="34290"/>
                    <a:pt x="83820" y="20003"/>
                  </a:cubicBezTo>
                  <a:cubicBezTo>
                    <a:pt x="110490" y="6668"/>
                    <a:pt x="140018" y="0"/>
                    <a:pt x="172403" y="0"/>
                  </a:cubicBezTo>
                  <a:cubicBezTo>
                    <a:pt x="204788" y="0"/>
                    <a:pt x="233363" y="6668"/>
                    <a:pt x="258128" y="20003"/>
                  </a:cubicBezTo>
                  <a:cubicBezTo>
                    <a:pt x="282893" y="33338"/>
                    <a:pt x="300038" y="53340"/>
                    <a:pt x="311468" y="78105"/>
                  </a:cubicBezTo>
                  <a:lnTo>
                    <a:pt x="241935" y="115253"/>
                  </a:lnTo>
                  <a:cubicBezTo>
                    <a:pt x="225743" y="86678"/>
                    <a:pt x="202882" y="72390"/>
                    <a:pt x="172403" y="72390"/>
                  </a:cubicBezTo>
                  <a:cubicBezTo>
                    <a:pt x="148590" y="72390"/>
                    <a:pt x="129540" y="80010"/>
                    <a:pt x="114300" y="95250"/>
                  </a:cubicBezTo>
                  <a:cubicBezTo>
                    <a:pt x="99060" y="110490"/>
                    <a:pt x="91440" y="131445"/>
                    <a:pt x="91440" y="158115"/>
                  </a:cubicBezTo>
                  <a:cubicBezTo>
                    <a:pt x="91440" y="184785"/>
                    <a:pt x="99060" y="205740"/>
                    <a:pt x="114300" y="220980"/>
                  </a:cubicBezTo>
                  <a:cubicBezTo>
                    <a:pt x="129540" y="236220"/>
                    <a:pt x="149543" y="243840"/>
                    <a:pt x="172403" y="243840"/>
                  </a:cubicBezTo>
                  <a:cubicBezTo>
                    <a:pt x="202882" y="243840"/>
                    <a:pt x="226695" y="229552"/>
                    <a:pt x="241935" y="200977"/>
                  </a:cubicBezTo>
                  <a:lnTo>
                    <a:pt x="311468" y="239077"/>
                  </a:lnTo>
                  <a:cubicBezTo>
                    <a:pt x="300038" y="263843"/>
                    <a:pt x="282893" y="282893"/>
                    <a:pt x="258128" y="296228"/>
                  </a:cubicBezTo>
                  <a:cubicBezTo>
                    <a:pt x="233363" y="310515"/>
                    <a:pt x="204788" y="317183"/>
                    <a:pt x="172403" y="317183"/>
                  </a:cubicBezTo>
                  <a:cubicBezTo>
                    <a:pt x="140018" y="320040"/>
                    <a:pt x="110490" y="313373"/>
                    <a:pt x="83820" y="30003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DE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9FD81FC-90C9-621A-33CC-3775824D38B8}"/>
                </a:ext>
              </a:extLst>
            </p:cNvPr>
            <p:cNvSpPr/>
            <p:nvPr/>
          </p:nvSpPr>
          <p:spPr>
            <a:xfrm>
              <a:off x="5529002" y="1778336"/>
              <a:ext cx="237172" cy="382904"/>
            </a:xfrm>
            <a:custGeom>
              <a:avLst/>
              <a:gdLst>
                <a:gd name="connsiteX0" fmla="*/ 237173 w 237172"/>
                <a:gd name="connsiteY0" fmla="*/ 363855 h 382904"/>
                <a:gd name="connsiteX1" fmla="*/ 204788 w 237172"/>
                <a:gd name="connsiteY1" fmla="*/ 378143 h 382904"/>
                <a:gd name="connsiteX2" fmla="*/ 163830 w 237172"/>
                <a:gd name="connsiteY2" fmla="*/ 382905 h 382904"/>
                <a:gd name="connsiteX3" fmla="*/ 78105 w 237172"/>
                <a:gd name="connsiteY3" fmla="*/ 354330 h 382904"/>
                <a:gd name="connsiteX4" fmla="*/ 47625 w 237172"/>
                <a:gd name="connsiteY4" fmla="*/ 271463 h 382904"/>
                <a:gd name="connsiteX5" fmla="*/ 47625 w 237172"/>
                <a:gd name="connsiteY5" fmla="*/ 144780 h 382904"/>
                <a:gd name="connsiteX6" fmla="*/ 0 w 237172"/>
                <a:gd name="connsiteY6" fmla="*/ 144780 h 382904"/>
                <a:gd name="connsiteX7" fmla="*/ 0 w 237172"/>
                <a:gd name="connsiteY7" fmla="*/ 75248 h 382904"/>
                <a:gd name="connsiteX8" fmla="*/ 47625 w 237172"/>
                <a:gd name="connsiteY8" fmla="*/ 75248 h 382904"/>
                <a:gd name="connsiteX9" fmla="*/ 47625 w 237172"/>
                <a:gd name="connsiteY9" fmla="*/ 0 h 382904"/>
                <a:gd name="connsiteX10" fmla="*/ 137160 w 237172"/>
                <a:gd name="connsiteY10" fmla="*/ 0 h 382904"/>
                <a:gd name="connsiteX11" fmla="*/ 137160 w 237172"/>
                <a:gd name="connsiteY11" fmla="*/ 75248 h 382904"/>
                <a:gd name="connsiteX12" fmla="*/ 214313 w 237172"/>
                <a:gd name="connsiteY12" fmla="*/ 75248 h 382904"/>
                <a:gd name="connsiteX13" fmla="*/ 214313 w 237172"/>
                <a:gd name="connsiteY13" fmla="*/ 144780 h 382904"/>
                <a:gd name="connsiteX14" fmla="*/ 137160 w 237172"/>
                <a:gd name="connsiteY14" fmla="*/ 144780 h 382904"/>
                <a:gd name="connsiteX15" fmla="*/ 137160 w 237172"/>
                <a:gd name="connsiteY15" fmla="*/ 271463 h 382904"/>
                <a:gd name="connsiteX16" fmla="*/ 147638 w 237172"/>
                <a:gd name="connsiteY16" fmla="*/ 301943 h 382904"/>
                <a:gd name="connsiteX17" fmla="*/ 176213 w 237172"/>
                <a:gd name="connsiteY17" fmla="*/ 312420 h 382904"/>
                <a:gd name="connsiteX18" fmla="*/ 212408 w 237172"/>
                <a:gd name="connsiteY18" fmla="*/ 300990 h 382904"/>
                <a:gd name="connsiteX19" fmla="*/ 237173 w 237172"/>
                <a:gd name="connsiteY19" fmla="*/ 363855 h 382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7172" h="382904">
                  <a:moveTo>
                    <a:pt x="237173" y="363855"/>
                  </a:moveTo>
                  <a:cubicBezTo>
                    <a:pt x="228600" y="370523"/>
                    <a:pt x="217170" y="375285"/>
                    <a:pt x="204788" y="378143"/>
                  </a:cubicBezTo>
                  <a:cubicBezTo>
                    <a:pt x="192405" y="381000"/>
                    <a:pt x="178118" y="382905"/>
                    <a:pt x="163830" y="382905"/>
                  </a:cubicBezTo>
                  <a:cubicBezTo>
                    <a:pt x="126683" y="382905"/>
                    <a:pt x="98108" y="373380"/>
                    <a:pt x="78105" y="354330"/>
                  </a:cubicBezTo>
                  <a:cubicBezTo>
                    <a:pt x="58103" y="335280"/>
                    <a:pt x="47625" y="307658"/>
                    <a:pt x="47625" y="271463"/>
                  </a:cubicBezTo>
                  <a:lnTo>
                    <a:pt x="47625" y="144780"/>
                  </a:lnTo>
                  <a:lnTo>
                    <a:pt x="0" y="144780"/>
                  </a:lnTo>
                  <a:lnTo>
                    <a:pt x="0" y="75248"/>
                  </a:lnTo>
                  <a:lnTo>
                    <a:pt x="47625" y="75248"/>
                  </a:lnTo>
                  <a:lnTo>
                    <a:pt x="47625" y="0"/>
                  </a:lnTo>
                  <a:lnTo>
                    <a:pt x="137160" y="0"/>
                  </a:lnTo>
                  <a:lnTo>
                    <a:pt x="137160" y="75248"/>
                  </a:lnTo>
                  <a:lnTo>
                    <a:pt x="214313" y="75248"/>
                  </a:lnTo>
                  <a:lnTo>
                    <a:pt x="214313" y="144780"/>
                  </a:lnTo>
                  <a:lnTo>
                    <a:pt x="137160" y="144780"/>
                  </a:lnTo>
                  <a:lnTo>
                    <a:pt x="137160" y="271463"/>
                  </a:lnTo>
                  <a:cubicBezTo>
                    <a:pt x="137160" y="284798"/>
                    <a:pt x="140970" y="294323"/>
                    <a:pt x="147638" y="301943"/>
                  </a:cubicBezTo>
                  <a:cubicBezTo>
                    <a:pt x="154305" y="308610"/>
                    <a:pt x="163830" y="312420"/>
                    <a:pt x="176213" y="312420"/>
                  </a:cubicBezTo>
                  <a:cubicBezTo>
                    <a:pt x="190500" y="312420"/>
                    <a:pt x="202883" y="308610"/>
                    <a:pt x="212408" y="300990"/>
                  </a:cubicBezTo>
                  <a:lnTo>
                    <a:pt x="237173" y="36385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DE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E837CE-EA42-E09B-3F31-FA00A81AD483}"/>
                </a:ext>
              </a:extLst>
            </p:cNvPr>
            <p:cNvSpPr/>
            <p:nvPr/>
          </p:nvSpPr>
          <p:spPr>
            <a:xfrm>
              <a:off x="5803323" y="1846917"/>
              <a:ext cx="276225" cy="310515"/>
            </a:xfrm>
            <a:custGeom>
              <a:avLst/>
              <a:gdLst>
                <a:gd name="connsiteX0" fmla="*/ 276225 w 276225"/>
                <a:gd name="connsiteY0" fmla="*/ 240983 h 310515"/>
                <a:gd name="connsiteX1" fmla="*/ 276225 w 276225"/>
                <a:gd name="connsiteY1" fmla="*/ 310515 h 310515"/>
                <a:gd name="connsiteX2" fmla="*/ 0 w 276225"/>
                <a:gd name="connsiteY2" fmla="*/ 310515 h 310515"/>
                <a:gd name="connsiteX3" fmla="*/ 0 w 276225"/>
                <a:gd name="connsiteY3" fmla="*/ 256223 h 310515"/>
                <a:gd name="connsiteX4" fmla="*/ 158115 w 276225"/>
                <a:gd name="connsiteY4" fmla="*/ 69532 h 310515"/>
                <a:gd name="connsiteX5" fmla="*/ 3810 w 276225"/>
                <a:gd name="connsiteY5" fmla="*/ 69532 h 310515"/>
                <a:gd name="connsiteX6" fmla="*/ 3810 w 276225"/>
                <a:gd name="connsiteY6" fmla="*/ 0 h 310515"/>
                <a:gd name="connsiteX7" fmla="*/ 270510 w 276225"/>
                <a:gd name="connsiteY7" fmla="*/ 0 h 310515"/>
                <a:gd name="connsiteX8" fmla="*/ 270510 w 276225"/>
                <a:gd name="connsiteY8" fmla="*/ 54292 h 310515"/>
                <a:gd name="connsiteX9" fmla="*/ 112395 w 276225"/>
                <a:gd name="connsiteY9" fmla="*/ 240983 h 310515"/>
                <a:gd name="connsiteX10" fmla="*/ 276225 w 276225"/>
                <a:gd name="connsiteY10" fmla="*/ 240983 h 31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225" h="310515">
                  <a:moveTo>
                    <a:pt x="276225" y="240983"/>
                  </a:moveTo>
                  <a:lnTo>
                    <a:pt x="276225" y="310515"/>
                  </a:lnTo>
                  <a:lnTo>
                    <a:pt x="0" y="310515"/>
                  </a:lnTo>
                  <a:lnTo>
                    <a:pt x="0" y="256223"/>
                  </a:lnTo>
                  <a:lnTo>
                    <a:pt x="158115" y="69532"/>
                  </a:lnTo>
                  <a:lnTo>
                    <a:pt x="3810" y="69532"/>
                  </a:lnTo>
                  <a:lnTo>
                    <a:pt x="3810" y="0"/>
                  </a:lnTo>
                  <a:lnTo>
                    <a:pt x="270510" y="0"/>
                  </a:lnTo>
                  <a:lnTo>
                    <a:pt x="270510" y="54292"/>
                  </a:lnTo>
                  <a:lnTo>
                    <a:pt x="112395" y="240983"/>
                  </a:lnTo>
                  <a:lnTo>
                    <a:pt x="276225" y="2409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DE"/>
            </a:p>
          </p:txBody>
        </p:sp>
      </p:grpSp>
      <p:graphicFrame>
        <p:nvGraphicFramePr>
          <p:cNvPr id="25" name="Diagram 24">
            <a:extLst>
              <a:ext uri="{FF2B5EF4-FFF2-40B4-BE49-F238E27FC236}">
                <a16:creationId xmlns:a16="http://schemas.microsoft.com/office/drawing/2014/main" id="{0FD060C9-70E6-282C-8DC7-B9E0C612A0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0601501"/>
              </p:ext>
            </p:extLst>
          </p:nvPr>
        </p:nvGraphicFramePr>
        <p:xfrm>
          <a:off x="1241495" y="3694596"/>
          <a:ext cx="9679041" cy="27716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104506543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C1DA42-DCA7-6CB5-5B04-57AEA54796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51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C1DA42-DCA7-6CB5-5B04-57AEA5479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E7D471-2336-EE97-DCBD-B0E6EFA79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mpact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4AB998-3CB6-DFC1-7380-1399A64999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university:</a:t>
            </a:r>
          </a:p>
          <a:p>
            <a:pPr marL="0" indent="0"/>
            <a:r>
              <a:rPr lang="en-US" dirty="0"/>
              <a:t>	Research on text diversity with </a:t>
            </a:r>
            <a:r>
              <a:rPr lang="en-US" dirty="0" err="1"/>
              <a:t>llms</a:t>
            </a:r>
            <a:endParaRPr lang="en-US" dirty="0"/>
          </a:p>
          <a:p>
            <a:pPr marL="0" indent="0"/>
            <a:r>
              <a:rPr lang="en-US" dirty="0"/>
              <a:t>	(extrapolating from limited data to generate text)</a:t>
            </a:r>
          </a:p>
          <a:p>
            <a:pPr marL="0" indent="0"/>
            <a:r>
              <a:rPr lang="en-US" dirty="0"/>
              <a:t>	Can be adapted to many data-to-text tasks (email generation, other types of reports, some </a:t>
            </a:r>
            <a:r>
              <a:rPr lang="en-US"/>
              <a:t>creative 		writing,…)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</a:t>
            </a:r>
            <a:r>
              <a:rPr lang="en-US" dirty="0" err="1"/>
              <a:t>Connactz</a:t>
            </a:r>
            <a:r>
              <a:rPr lang="en-US" dirty="0"/>
              <a:t>:</a:t>
            </a:r>
          </a:p>
          <a:p>
            <a:pPr marL="0" indent="0"/>
            <a:r>
              <a:rPr lang="en-US" dirty="0"/>
              <a:t>	Improve service</a:t>
            </a:r>
          </a:p>
          <a:p>
            <a:pPr marL="0" indent="0"/>
            <a:r>
              <a:rPr lang="en-US" dirty="0"/>
              <a:t>	simplify setup of new account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FB60B7-B38E-1ED5-5390-AA294C9D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60362E-3410-E584-402F-B5C311CDF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C0F02D-BB61-0EAC-9E99-24F74B8E4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0435880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-1530" y="1916832"/>
            <a:ext cx="12192000" cy="7207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r" eaLnBrk="0" hangingPunct="0">
              <a:defRPr/>
            </a:pPr>
            <a:endParaRPr lang="de-DE" dirty="0">
              <a:solidFill>
                <a:schemeClr val="tx1"/>
              </a:solidFill>
              <a:latin typeface="Arial Unicode MS" pitchFamily="34" charset="-128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800" dirty="0"/>
              <a:t>Motivation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Methodology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Problem Statement and Goal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Approach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Time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/>
              <a:t>© sebi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C9FAB-BDC1-47C0-A8BB-6E12A8205D33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60769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FDC4B3F-0FE1-EDB6-A888-7EAB81E98B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311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DC4B3F-0FE1-EDB6-A888-7EAB81E98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67FC6D-2EA7-A489-B005-D72FDCE53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hodology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6406F2-28F0-A47D-B1C2-B2A9699D4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b="1" dirty="0"/>
              <a:t>Data-to-Text generation</a:t>
            </a:r>
            <a:endParaRPr lang="en-DE" sz="2800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B6C200-A265-47C9-FDA9-FB77CD0A2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A5B61-D1AA-E83C-9499-874B01C4E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819510-D93B-433A-6614-DCAE3BBC8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BFD763D6-13C7-5324-C22F-5E736F06E0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5026563"/>
              </p:ext>
            </p:extLst>
          </p:nvPr>
        </p:nvGraphicFramePr>
        <p:xfrm>
          <a:off x="660788" y="1784368"/>
          <a:ext cx="3775968" cy="27559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258656">
                  <a:extLst>
                    <a:ext uri="{9D8B030D-6E8A-4147-A177-3AD203B41FA5}">
                      <a16:colId xmlns:a16="http://schemas.microsoft.com/office/drawing/2014/main" val="3029464422"/>
                    </a:ext>
                  </a:extLst>
                </a:gridCol>
                <a:gridCol w="973592">
                  <a:extLst>
                    <a:ext uri="{9D8B030D-6E8A-4147-A177-3AD203B41FA5}">
                      <a16:colId xmlns:a16="http://schemas.microsoft.com/office/drawing/2014/main" val="3579923992"/>
                    </a:ext>
                  </a:extLst>
                </a:gridCol>
                <a:gridCol w="1543720">
                  <a:extLst>
                    <a:ext uri="{9D8B030D-6E8A-4147-A177-3AD203B41FA5}">
                      <a16:colId xmlns:a16="http://schemas.microsoft.com/office/drawing/2014/main" val="2004867756"/>
                    </a:ext>
                  </a:extLst>
                </a:gridCol>
              </a:tblGrid>
              <a:tr h="551188"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ge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fession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3538440"/>
                  </a:ext>
                </a:extLst>
              </a:tr>
              <a:tr h="551188">
                <a:tc>
                  <a:txBody>
                    <a:bodyPr/>
                    <a:lstStyle/>
                    <a:p>
                      <a:r>
                        <a:rPr lang="en-US" dirty="0"/>
                        <a:t>Alex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5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dent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585722"/>
                  </a:ext>
                </a:extLst>
              </a:tr>
              <a:tr h="551188"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5010202"/>
                  </a:ext>
                </a:extLst>
              </a:tr>
              <a:tr h="551188"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349875"/>
                  </a:ext>
                </a:extLst>
              </a:tr>
              <a:tr h="551188"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5300710"/>
                  </a:ext>
                </a:extLst>
              </a:tr>
            </a:tbl>
          </a:graphicData>
        </a:graphic>
      </p:graphicFrame>
      <p:sp>
        <p:nvSpPr>
          <p:cNvPr id="8" name="Arrow: Right 7">
            <a:extLst>
              <a:ext uri="{FF2B5EF4-FFF2-40B4-BE49-F238E27FC236}">
                <a16:creationId xmlns:a16="http://schemas.microsoft.com/office/drawing/2014/main" id="{EF241B9D-1B63-EB59-BBE9-66FBAE61AED5}"/>
              </a:ext>
            </a:extLst>
          </p:cNvPr>
          <p:cNvSpPr/>
          <p:nvPr/>
        </p:nvSpPr>
        <p:spPr bwMode="auto">
          <a:xfrm>
            <a:off x="5158366" y="2730290"/>
            <a:ext cx="1872208" cy="86409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45CF52E-30FB-1802-460C-093A82565AF7}"/>
              </a:ext>
            </a:extLst>
          </p:cNvPr>
          <p:cNvSpPr/>
          <p:nvPr/>
        </p:nvSpPr>
        <p:spPr bwMode="auto">
          <a:xfrm>
            <a:off x="7752184" y="2420888"/>
            <a:ext cx="3600400" cy="136815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Alex is a 25 year old student.</a:t>
            </a:r>
            <a:endParaRPr lang="en-DE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78278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918F751-2450-29DC-F682-FF517E0224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6563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18F751-2450-29DC-F682-FF517E0224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le 7">
            <a:extLst>
              <a:ext uri="{FF2B5EF4-FFF2-40B4-BE49-F238E27FC236}">
                <a16:creationId xmlns:a16="http://schemas.microsoft.com/office/drawing/2014/main" id="{E4FD7E6A-468B-8CC0-E8E9-74599B438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976667"/>
              </p:ext>
            </p:extLst>
          </p:nvPr>
        </p:nvGraphicFramePr>
        <p:xfrm>
          <a:off x="660788" y="1784368"/>
          <a:ext cx="3775968" cy="27559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258656">
                  <a:extLst>
                    <a:ext uri="{9D8B030D-6E8A-4147-A177-3AD203B41FA5}">
                      <a16:colId xmlns:a16="http://schemas.microsoft.com/office/drawing/2014/main" val="3029464422"/>
                    </a:ext>
                  </a:extLst>
                </a:gridCol>
                <a:gridCol w="973592">
                  <a:extLst>
                    <a:ext uri="{9D8B030D-6E8A-4147-A177-3AD203B41FA5}">
                      <a16:colId xmlns:a16="http://schemas.microsoft.com/office/drawing/2014/main" val="3579923992"/>
                    </a:ext>
                  </a:extLst>
                </a:gridCol>
                <a:gridCol w="1543720">
                  <a:extLst>
                    <a:ext uri="{9D8B030D-6E8A-4147-A177-3AD203B41FA5}">
                      <a16:colId xmlns:a16="http://schemas.microsoft.com/office/drawing/2014/main" val="2004867756"/>
                    </a:ext>
                  </a:extLst>
                </a:gridCol>
              </a:tblGrid>
              <a:tr h="551188"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ge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fession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3538440"/>
                  </a:ext>
                </a:extLst>
              </a:tr>
              <a:tr h="551188">
                <a:tc>
                  <a:txBody>
                    <a:bodyPr/>
                    <a:lstStyle/>
                    <a:p>
                      <a:r>
                        <a:rPr lang="en-US" dirty="0"/>
                        <a:t>Alex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5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dent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585722"/>
                  </a:ext>
                </a:extLst>
              </a:tr>
              <a:tr h="551188"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5010202"/>
                  </a:ext>
                </a:extLst>
              </a:tr>
              <a:tr h="551188"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349875"/>
                  </a:ext>
                </a:extLst>
              </a:tr>
              <a:tr h="551188"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530071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67FC6D-2EA7-A489-B005-D72FDCE53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hodology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6406F2-28F0-A47D-B1C2-B2A9699D43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435" y="957697"/>
            <a:ext cx="6769678" cy="720725"/>
          </a:xfrm>
        </p:spPr>
        <p:txBody>
          <a:bodyPr>
            <a:normAutofit/>
          </a:bodyPr>
          <a:lstStyle/>
          <a:p>
            <a:r>
              <a:rPr lang="en-US" sz="2800" b="1" dirty="0"/>
              <a:t>Data-to-Text generation</a:t>
            </a:r>
            <a:endParaRPr lang="en-DE" sz="2800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B6C200-A265-47C9-FDA9-FB77CD0A2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A5B61-D1AA-E83C-9499-874B01C4E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903" y="6590341"/>
            <a:ext cx="5761567" cy="288925"/>
          </a:xfrm>
        </p:spPr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819510-D93B-433A-6614-DCAE3BBC8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F1189F9D-F300-EA65-58CC-95D588887FC9}"/>
              </a:ext>
            </a:extLst>
          </p:cNvPr>
          <p:cNvSpPr/>
          <p:nvPr/>
        </p:nvSpPr>
        <p:spPr bwMode="auto">
          <a:xfrm>
            <a:off x="5158366" y="2730290"/>
            <a:ext cx="1872208" cy="86409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1D337B3-B2A2-6736-0270-FEDDDC5CDC37}"/>
              </a:ext>
            </a:extLst>
          </p:cNvPr>
          <p:cNvSpPr/>
          <p:nvPr/>
        </p:nvSpPr>
        <p:spPr bwMode="auto">
          <a:xfrm>
            <a:off x="7752184" y="2420888"/>
            <a:ext cx="3600400" cy="136815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Alex is a 25 year old student.</a:t>
            </a:r>
            <a:endParaRPr lang="en-DE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45C180-943F-0F20-1FB7-900316B15D63}"/>
              </a:ext>
            </a:extLst>
          </p:cNvPr>
          <p:cNvSpPr txBox="1"/>
          <p:nvPr/>
        </p:nvSpPr>
        <p:spPr>
          <a:xfrm>
            <a:off x="1343472" y="2994221"/>
            <a:ext cx="9433048" cy="2031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u="sng" dirty="0">
                <a:latin typeface="Arial" pitchFamily="34" charset="0"/>
              </a:rPr>
              <a:t>Common applications</a:t>
            </a:r>
            <a:r>
              <a:rPr lang="en-US" b="1" dirty="0">
                <a:latin typeface="Arial" pitchFamily="34" charset="0"/>
              </a:rPr>
              <a:t>: Reports and personalized communication</a:t>
            </a:r>
          </a:p>
          <a:p>
            <a:r>
              <a:rPr lang="en-US" b="1" dirty="0">
                <a:latin typeface="Arial" pitchFamily="34" charset="0"/>
              </a:rPr>
              <a:t>	</a:t>
            </a:r>
          </a:p>
          <a:p>
            <a:r>
              <a:rPr lang="en-US" b="1" dirty="0">
                <a:latin typeface="Arial" pitchFamily="34" charset="0"/>
              </a:rPr>
              <a:t>	- Journalism (sport or stock reports)</a:t>
            </a:r>
          </a:p>
          <a:p>
            <a:r>
              <a:rPr lang="en-US" b="1" dirty="0">
                <a:latin typeface="Arial" pitchFamily="34" charset="0"/>
              </a:rPr>
              <a:t>	</a:t>
            </a:r>
          </a:p>
          <a:p>
            <a:r>
              <a:rPr lang="en-US" b="1" dirty="0">
                <a:latin typeface="Arial" pitchFamily="34" charset="0"/>
              </a:rPr>
              <a:t>	- Descriptions (products, movies, artists…)</a:t>
            </a:r>
          </a:p>
          <a:p>
            <a:endParaRPr lang="en-US" b="1" dirty="0">
              <a:latin typeface="Arial" pitchFamily="34" charset="0"/>
            </a:endParaRPr>
          </a:p>
          <a:p>
            <a:r>
              <a:rPr lang="en-US" b="1" dirty="0">
                <a:latin typeface="Arial" pitchFamily="34" charset="0"/>
              </a:rPr>
              <a:t>	- Tasks with similar underlying </a:t>
            </a:r>
            <a:r>
              <a:rPr lang="en-US" b="1" dirty="0" err="1">
                <a:latin typeface="Arial" pitchFamily="34" charset="0"/>
              </a:rPr>
              <a:t>datastructures</a:t>
            </a:r>
            <a:endParaRPr lang="en-DE" b="1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933786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1.11111E-6 L -0.11171 -0.15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586" y="-750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1.11111E-6 L -0.26836 -0.15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424" y="-750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42" presetClass="pat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2.22222E-6 L -0.4125 -0.1416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625" y="-70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2" grpId="1" animBg="1"/>
      <p:bldP spid="1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7C48D88-3CCD-3EDD-7873-DA99B0215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998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C48D88-3CCD-3EDD-7873-DA99B0215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le 7">
            <a:extLst>
              <a:ext uri="{FF2B5EF4-FFF2-40B4-BE49-F238E27FC236}">
                <a16:creationId xmlns:a16="http://schemas.microsoft.com/office/drawing/2014/main" id="{E4FD7E6A-468B-8CC0-E8E9-74599B438187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889399425"/>
              </p:ext>
            </p:extLst>
          </p:nvPr>
        </p:nvGraphicFramePr>
        <p:xfrm>
          <a:off x="250323" y="1484784"/>
          <a:ext cx="1813230" cy="132341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04410">
                  <a:extLst>
                    <a:ext uri="{9D8B030D-6E8A-4147-A177-3AD203B41FA5}">
                      <a16:colId xmlns:a16="http://schemas.microsoft.com/office/drawing/2014/main" val="3029464422"/>
                    </a:ext>
                  </a:extLst>
                </a:gridCol>
                <a:gridCol w="467522">
                  <a:extLst>
                    <a:ext uri="{9D8B030D-6E8A-4147-A177-3AD203B41FA5}">
                      <a16:colId xmlns:a16="http://schemas.microsoft.com/office/drawing/2014/main" val="3579923992"/>
                    </a:ext>
                  </a:extLst>
                </a:gridCol>
                <a:gridCol w="741298">
                  <a:extLst>
                    <a:ext uri="{9D8B030D-6E8A-4147-A177-3AD203B41FA5}">
                      <a16:colId xmlns:a16="http://schemas.microsoft.com/office/drawing/2014/main" val="2004867756"/>
                    </a:ext>
                  </a:extLst>
                </a:gridCol>
              </a:tblGrid>
              <a:tr h="264682">
                <a:tc>
                  <a:txBody>
                    <a:bodyPr/>
                    <a:lstStyle/>
                    <a:p>
                      <a:r>
                        <a:rPr lang="en-US" sz="900" dirty="0"/>
                        <a:t>Name</a:t>
                      </a:r>
                      <a:endParaRPr lang="en-DE" sz="900" dirty="0"/>
                    </a:p>
                  </a:txBody>
                  <a:tcPr marL="47784" marR="47784" marT="23891" marB="23891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ge</a:t>
                      </a:r>
                      <a:endParaRPr lang="en-DE" sz="900" dirty="0"/>
                    </a:p>
                  </a:txBody>
                  <a:tcPr marL="47784" marR="47784" marT="23891" marB="23891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rofession</a:t>
                      </a:r>
                      <a:endParaRPr lang="en-DE" sz="900" dirty="0"/>
                    </a:p>
                  </a:txBody>
                  <a:tcPr marL="47784" marR="47784" marT="23891" marB="23891"/>
                </a:tc>
                <a:extLst>
                  <a:ext uri="{0D108BD9-81ED-4DB2-BD59-A6C34878D82A}">
                    <a16:rowId xmlns:a16="http://schemas.microsoft.com/office/drawing/2014/main" val="3813538440"/>
                  </a:ext>
                </a:extLst>
              </a:tr>
              <a:tr h="264682">
                <a:tc>
                  <a:txBody>
                    <a:bodyPr/>
                    <a:lstStyle/>
                    <a:p>
                      <a:r>
                        <a:rPr lang="en-US" sz="900" dirty="0"/>
                        <a:t>Alex</a:t>
                      </a:r>
                      <a:endParaRPr lang="en-DE" sz="900" dirty="0"/>
                    </a:p>
                  </a:txBody>
                  <a:tcPr marL="47784" marR="47784" marT="23891" marB="23891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25</a:t>
                      </a:r>
                      <a:endParaRPr lang="en-DE" sz="900" dirty="0"/>
                    </a:p>
                  </a:txBody>
                  <a:tcPr marL="47784" marR="47784" marT="23891" marB="23891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Student</a:t>
                      </a:r>
                      <a:endParaRPr lang="en-DE" sz="900" dirty="0"/>
                    </a:p>
                  </a:txBody>
                  <a:tcPr marL="47784" marR="47784" marT="23891" marB="23891"/>
                </a:tc>
                <a:extLst>
                  <a:ext uri="{0D108BD9-81ED-4DB2-BD59-A6C34878D82A}">
                    <a16:rowId xmlns:a16="http://schemas.microsoft.com/office/drawing/2014/main" val="2397585722"/>
                  </a:ext>
                </a:extLst>
              </a:tr>
              <a:tr h="264682">
                <a:tc>
                  <a:txBody>
                    <a:bodyPr/>
                    <a:lstStyle/>
                    <a:p>
                      <a:endParaRPr lang="en-DE" sz="900"/>
                    </a:p>
                  </a:txBody>
                  <a:tcPr marL="47784" marR="47784" marT="23891" marB="23891"/>
                </a:tc>
                <a:tc>
                  <a:txBody>
                    <a:bodyPr/>
                    <a:lstStyle/>
                    <a:p>
                      <a:endParaRPr lang="en-DE" sz="900" dirty="0"/>
                    </a:p>
                  </a:txBody>
                  <a:tcPr marL="47784" marR="47784" marT="23891" marB="23891"/>
                </a:tc>
                <a:tc>
                  <a:txBody>
                    <a:bodyPr/>
                    <a:lstStyle/>
                    <a:p>
                      <a:endParaRPr lang="en-DE" sz="900" dirty="0"/>
                    </a:p>
                  </a:txBody>
                  <a:tcPr marL="47784" marR="47784" marT="23891" marB="23891"/>
                </a:tc>
                <a:extLst>
                  <a:ext uri="{0D108BD9-81ED-4DB2-BD59-A6C34878D82A}">
                    <a16:rowId xmlns:a16="http://schemas.microsoft.com/office/drawing/2014/main" val="2475010202"/>
                  </a:ext>
                </a:extLst>
              </a:tr>
              <a:tr h="264682">
                <a:tc>
                  <a:txBody>
                    <a:bodyPr/>
                    <a:lstStyle/>
                    <a:p>
                      <a:endParaRPr lang="en-DE" sz="900"/>
                    </a:p>
                  </a:txBody>
                  <a:tcPr marL="47784" marR="47784" marT="23891" marB="23891"/>
                </a:tc>
                <a:tc>
                  <a:txBody>
                    <a:bodyPr/>
                    <a:lstStyle/>
                    <a:p>
                      <a:endParaRPr lang="en-DE" sz="900"/>
                    </a:p>
                  </a:txBody>
                  <a:tcPr marL="47784" marR="47784" marT="23891" marB="23891"/>
                </a:tc>
                <a:tc>
                  <a:txBody>
                    <a:bodyPr/>
                    <a:lstStyle/>
                    <a:p>
                      <a:endParaRPr lang="en-DE" sz="900" dirty="0"/>
                    </a:p>
                  </a:txBody>
                  <a:tcPr marL="47784" marR="47784" marT="23891" marB="23891"/>
                </a:tc>
                <a:extLst>
                  <a:ext uri="{0D108BD9-81ED-4DB2-BD59-A6C34878D82A}">
                    <a16:rowId xmlns:a16="http://schemas.microsoft.com/office/drawing/2014/main" val="712349875"/>
                  </a:ext>
                </a:extLst>
              </a:tr>
              <a:tr h="264682">
                <a:tc>
                  <a:txBody>
                    <a:bodyPr/>
                    <a:lstStyle/>
                    <a:p>
                      <a:endParaRPr lang="en-DE" sz="900"/>
                    </a:p>
                  </a:txBody>
                  <a:tcPr marL="47784" marR="47784" marT="23891" marB="23891"/>
                </a:tc>
                <a:tc>
                  <a:txBody>
                    <a:bodyPr/>
                    <a:lstStyle/>
                    <a:p>
                      <a:endParaRPr lang="en-DE" sz="900"/>
                    </a:p>
                  </a:txBody>
                  <a:tcPr marL="47784" marR="47784" marT="23891" marB="23891"/>
                </a:tc>
                <a:tc>
                  <a:txBody>
                    <a:bodyPr/>
                    <a:lstStyle/>
                    <a:p>
                      <a:endParaRPr lang="en-DE" sz="900" dirty="0"/>
                    </a:p>
                  </a:txBody>
                  <a:tcPr marL="47784" marR="47784" marT="23891" marB="23891"/>
                </a:tc>
                <a:extLst>
                  <a:ext uri="{0D108BD9-81ED-4DB2-BD59-A6C34878D82A}">
                    <a16:rowId xmlns:a16="http://schemas.microsoft.com/office/drawing/2014/main" val="322530071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67FC6D-2EA7-A489-B005-D72FDCE53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olution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6406F2-28F0-A47D-B1C2-B2A9699D43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434" y="957697"/>
            <a:ext cx="11523133" cy="5400675"/>
          </a:xfrm>
        </p:spPr>
        <p:txBody>
          <a:bodyPr>
            <a:normAutofit/>
          </a:bodyPr>
          <a:lstStyle/>
          <a:p>
            <a:r>
              <a:rPr lang="en-US" sz="2800" b="1" dirty="0"/>
              <a:t>Data-to-Text generation</a:t>
            </a:r>
            <a:endParaRPr lang="en-DE" sz="2800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B6C200-A265-47C9-FDA9-FB77CD0A2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A5B61-D1AA-E83C-9499-874B01C4E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903" y="6590341"/>
            <a:ext cx="5761567" cy="288925"/>
          </a:xfrm>
        </p:spPr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819510-D93B-433A-6614-DCAE3BBC8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F1189F9D-F300-EA65-58CC-95D588887FC9}"/>
              </a:ext>
            </a:extLst>
          </p:cNvPr>
          <p:cNvSpPr/>
          <p:nvPr/>
        </p:nvSpPr>
        <p:spPr bwMode="auto">
          <a:xfrm>
            <a:off x="2351584" y="1844824"/>
            <a:ext cx="1080120" cy="498517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1D337B3-B2A2-6736-0270-FEDDDC5CDC37}"/>
              </a:ext>
            </a:extLst>
          </p:cNvPr>
          <p:cNvSpPr/>
          <p:nvPr/>
        </p:nvSpPr>
        <p:spPr bwMode="auto">
          <a:xfrm>
            <a:off x="3719734" y="1700808"/>
            <a:ext cx="1944217" cy="726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chemeClr val="bg1"/>
                </a:solidFill>
                <a:cs typeface="Arial" pitchFamily="34" charset="0"/>
              </a:rPr>
              <a:t>Alex is a 25 year old student.</a:t>
            </a:r>
            <a:endParaRPr lang="en-DE" sz="1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DBC028-1CBD-AF7B-B0AA-A318E83B5C3B}"/>
              </a:ext>
            </a:extLst>
          </p:cNvPr>
          <p:cNvSpPr txBox="1"/>
          <p:nvPr/>
        </p:nvSpPr>
        <p:spPr>
          <a:xfrm>
            <a:off x="1343472" y="2994221"/>
            <a:ext cx="9433048" cy="2031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u="sng" dirty="0">
                <a:latin typeface="Arial" pitchFamily="34" charset="0"/>
              </a:rPr>
              <a:t>Common applications</a:t>
            </a:r>
            <a:r>
              <a:rPr lang="en-US" b="1" dirty="0">
                <a:latin typeface="Arial" pitchFamily="34" charset="0"/>
              </a:rPr>
              <a:t>: Reports and personalized communication</a:t>
            </a:r>
          </a:p>
          <a:p>
            <a:r>
              <a:rPr lang="en-US" b="1" dirty="0">
                <a:latin typeface="Arial" pitchFamily="34" charset="0"/>
              </a:rPr>
              <a:t>	</a:t>
            </a:r>
          </a:p>
          <a:p>
            <a:r>
              <a:rPr lang="en-US" b="1" dirty="0">
                <a:latin typeface="Arial" pitchFamily="34" charset="0"/>
              </a:rPr>
              <a:t>	- Journalism (sport or stock reports)</a:t>
            </a:r>
          </a:p>
          <a:p>
            <a:r>
              <a:rPr lang="en-US" b="1" dirty="0">
                <a:latin typeface="Arial" pitchFamily="34" charset="0"/>
              </a:rPr>
              <a:t>	</a:t>
            </a:r>
          </a:p>
          <a:p>
            <a:r>
              <a:rPr lang="en-US" b="1" dirty="0">
                <a:latin typeface="Arial" pitchFamily="34" charset="0"/>
              </a:rPr>
              <a:t>	- Descriptions (products, movies, artists…)</a:t>
            </a:r>
          </a:p>
          <a:p>
            <a:endParaRPr lang="en-US" b="1" dirty="0">
              <a:latin typeface="Arial" pitchFamily="34" charset="0"/>
            </a:endParaRPr>
          </a:p>
          <a:p>
            <a:r>
              <a:rPr lang="en-US" b="1" dirty="0">
                <a:latin typeface="Arial" pitchFamily="34" charset="0"/>
              </a:rPr>
              <a:t>	- Tasks with similar underlying </a:t>
            </a:r>
            <a:r>
              <a:rPr lang="en-US" b="1" dirty="0" err="1">
                <a:latin typeface="Arial" pitchFamily="34" charset="0"/>
              </a:rPr>
              <a:t>datastructures</a:t>
            </a:r>
            <a:endParaRPr lang="en-DE" b="1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88342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C05681-51D2-7B8C-5553-B1A4306B6E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512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C05681-51D2-7B8C-5553-B1A4306B6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ED709F-ACAD-B1F7-6A76-D3912B5BE3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b="1" dirty="0"/>
              <a:t>Existing Solutions</a:t>
            </a:r>
          </a:p>
          <a:p>
            <a:endParaRPr lang="en-US" dirty="0"/>
          </a:p>
          <a:p>
            <a:r>
              <a:rPr lang="en-US" u="sng" dirty="0"/>
              <a:t>Templates</a:t>
            </a:r>
            <a:r>
              <a:rPr lang="en-US" dirty="0"/>
              <a:t>: learned through neural models, most rigid generation. [9]</a:t>
            </a:r>
          </a:p>
          <a:p>
            <a:r>
              <a:rPr lang="en-US" u="sng" dirty="0"/>
              <a:t>Plan-then-Generate</a:t>
            </a:r>
            <a:r>
              <a:rPr lang="en-US" dirty="0"/>
              <a:t>: 2-step process of ordering the data then generating a text. (</a:t>
            </a:r>
            <a:r>
              <a:rPr lang="en-US" dirty="0" err="1">
                <a:solidFill>
                  <a:schemeClr val="accent4">
                    <a:lumMod val="75000"/>
                    <a:lumOff val="25000"/>
                  </a:schemeClr>
                </a:solidFill>
              </a:rPr>
              <a:t>PlanGen</a:t>
            </a:r>
            <a:r>
              <a:rPr lang="en-US" dirty="0"/>
              <a:t>) [2][4][8][10]</a:t>
            </a:r>
          </a:p>
          <a:p>
            <a:r>
              <a:rPr lang="en-US" u="sng" dirty="0"/>
              <a:t>Large language models</a:t>
            </a:r>
            <a:r>
              <a:rPr lang="en-US" dirty="0"/>
              <a:t>: impressive results but hard to evaluate. (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T5, GPT, …</a:t>
            </a:r>
            <a:r>
              <a:rPr lang="en-US" dirty="0"/>
              <a:t>) [3][5][7]</a:t>
            </a:r>
          </a:p>
          <a:p>
            <a:endParaRPr lang="en-US" dirty="0"/>
          </a:p>
          <a:p>
            <a:r>
              <a:rPr lang="en-US" sz="2800" b="1" dirty="0"/>
              <a:t>Current limitations</a:t>
            </a:r>
          </a:p>
          <a:p>
            <a:endParaRPr lang="en-US" dirty="0"/>
          </a:p>
          <a:p>
            <a:r>
              <a:rPr lang="en-US" u="sng" dirty="0"/>
              <a:t>Controllability</a:t>
            </a:r>
            <a:r>
              <a:rPr lang="en-US" dirty="0"/>
              <a:t>: How can one orient a model’s training or generate the output they require.</a:t>
            </a:r>
          </a:p>
          <a:p>
            <a:r>
              <a:rPr lang="en-US" u="sng" dirty="0"/>
              <a:t>Creativity</a:t>
            </a:r>
            <a:r>
              <a:rPr lang="en-US" dirty="0"/>
              <a:t>: Variety of content is limited compared to human content.</a:t>
            </a:r>
          </a:p>
          <a:p>
            <a:pPr>
              <a:tabLst>
                <a:tab pos="1973263" algn="l"/>
              </a:tabLst>
            </a:pPr>
            <a:r>
              <a:rPr lang="en-US" u="sng" dirty="0"/>
              <a:t>Lack of input data</a:t>
            </a:r>
            <a:r>
              <a:rPr lang="en-US" dirty="0"/>
              <a:t>: The model relies on structured data but a text will often have additional context, analysis or 	details.</a:t>
            </a:r>
          </a:p>
          <a:p>
            <a:pPr>
              <a:tabLst>
                <a:tab pos="1973263" algn="l"/>
              </a:tabLst>
            </a:pPr>
            <a:r>
              <a:rPr lang="en-US" u="sng" dirty="0"/>
              <a:t>Evaluation</a:t>
            </a:r>
            <a:r>
              <a:rPr lang="en-US" dirty="0"/>
              <a:t>: of generated content is complicated and often manual.</a:t>
            </a:r>
            <a:endParaRPr lang="en-DE" u="sng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17D48-FB40-6D0D-E00A-7833C89C46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B8D978-FFED-1611-C170-8EBB45C87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D2C266-2046-8EBF-8ADF-EFC238EAD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362926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0" y="2945593"/>
            <a:ext cx="12192000" cy="7207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r" eaLnBrk="0" hangingPunct="0">
              <a:defRPr/>
            </a:pPr>
            <a:endParaRPr lang="de-DE" dirty="0">
              <a:solidFill>
                <a:schemeClr val="tx1"/>
              </a:solidFill>
              <a:latin typeface="Arial Unicode MS" pitchFamily="34" charset="-128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800" dirty="0"/>
              <a:t>Motivation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Methodology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Problem Statement and Goal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Approach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Time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/>
              <a:t>© sebi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C9FAB-BDC1-47C0-A8BB-6E12A8205D33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634753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9F0EBBC-5888-8FF4-A95A-ED571111FE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F0EBBC-5888-8FF4-A95A-ED571111F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D7C5C2-37DE-9277-1C60-6C730E7E7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blem statement and goal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FDEC84-224D-C571-0D8A-7BBF18808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52C1A0-D3F1-0E91-2E0D-7522A509E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38487-7B3D-0899-434C-C982A8BCF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271423-2E6F-36F7-EB41-2FC819A8D899}"/>
              </a:ext>
            </a:extLst>
          </p:cNvPr>
          <p:cNvSpPr txBox="1"/>
          <p:nvPr/>
        </p:nvSpPr>
        <p:spPr>
          <a:xfrm>
            <a:off x="1906427" y="1340653"/>
            <a:ext cx="8376085" cy="83099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tabLst>
                <a:tab pos="717550" algn="l"/>
              </a:tabLst>
            </a:pPr>
            <a:r>
              <a:rPr lang="en-US" sz="2400" b="1" u="sng" dirty="0">
                <a:latin typeface="Arial" pitchFamily="34" charset="0"/>
              </a:rPr>
              <a:t>Goal</a:t>
            </a:r>
            <a:r>
              <a:rPr lang="en-US" sz="2400" b="1" dirty="0">
                <a:latin typeface="Arial" pitchFamily="34" charset="0"/>
              </a:rPr>
              <a:t>: 	Build and deploy data-to-text generation pipelines for business uses and evaluate their user impact.</a:t>
            </a:r>
            <a:endParaRPr lang="en-DE" sz="2400" b="1" dirty="0">
              <a:latin typeface="Arial" pitchFamily="34" charset="0"/>
            </a:endParaRPr>
          </a:p>
        </p:txBody>
      </p:sp>
      <p:graphicFrame>
        <p:nvGraphicFramePr>
          <p:cNvPr id="3" name="Table 9">
            <a:extLst>
              <a:ext uri="{FF2B5EF4-FFF2-40B4-BE49-F238E27FC236}">
                <a16:creationId xmlns:a16="http://schemas.microsoft.com/office/drawing/2014/main" id="{F4242307-8DB7-AF63-6B92-9E53FAB973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1786579"/>
              </p:ext>
            </p:extLst>
          </p:nvPr>
        </p:nvGraphicFramePr>
        <p:xfrm>
          <a:off x="983432" y="3432966"/>
          <a:ext cx="10030328" cy="18763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9774">
                  <a:extLst>
                    <a:ext uri="{9D8B030D-6E8A-4147-A177-3AD203B41FA5}">
                      <a16:colId xmlns:a16="http://schemas.microsoft.com/office/drawing/2014/main" val="1228599503"/>
                    </a:ext>
                  </a:extLst>
                </a:gridCol>
                <a:gridCol w="3313365">
                  <a:extLst>
                    <a:ext uri="{9D8B030D-6E8A-4147-A177-3AD203B41FA5}">
                      <a16:colId xmlns:a16="http://schemas.microsoft.com/office/drawing/2014/main" val="3266465568"/>
                    </a:ext>
                  </a:extLst>
                </a:gridCol>
                <a:gridCol w="3047189">
                  <a:extLst>
                    <a:ext uri="{9D8B030D-6E8A-4147-A177-3AD203B41FA5}">
                      <a16:colId xmlns:a16="http://schemas.microsoft.com/office/drawing/2014/main" val="4004492414"/>
                    </a:ext>
                  </a:extLst>
                </a:gridCol>
              </a:tblGrid>
              <a:tr h="565694">
                <a:tc>
                  <a:txBody>
                    <a:bodyPr/>
                    <a:lstStyle/>
                    <a:p>
                      <a:r>
                        <a:rPr lang="en-GB" sz="2000" b="0" dirty="0">
                          <a:solidFill>
                            <a:schemeClr val="tx1"/>
                          </a:solidFill>
                        </a:rPr>
                        <a:t>1) Descriptive Texts of ban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b="0" dirty="0">
                          <a:solidFill>
                            <a:schemeClr val="tx1"/>
                          </a:solidFill>
                        </a:rPr>
                        <a:t>2) Press kit for ban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b="0" dirty="0">
                          <a:solidFill>
                            <a:schemeClr val="tx1"/>
                          </a:solidFill>
                        </a:rPr>
                        <a:t>3) Regional summa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3156787"/>
                  </a:ext>
                </a:extLst>
              </a:tr>
              <a:tr h="565694">
                <a:tc>
                  <a:txBody>
                    <a:bodyPr/>
                    <a:lstStyle/>
                    <a:p>
                      <a:r>
                        <a:rPr lang="en-GB" sz="2000" b="0" dirty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</a:rPr>
                        <a:t>We are The Letters, bringing the trendiest songs to your festival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b="0" dirty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</a:rPr>
                        <a:t>The Letters are an inspiring duo from Regensburg. They last played at the </a:t>
                      </a:r>
                      <a:r>
                        <a:rPr lang="en-GB" sz="2000" b="0" dirty="0" err="1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</a:rPr>
                        <a:t>Puch</a:t>
                      </a:r>
                      <a:r>
                        <a:rPr lang="en-GB" sz="2000" b="0" dirty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</a:rPr>
                        <a:t> Open Air 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b="0" dirty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</a:rPr>
                        <a:t>In Bavaria you will encounter a wide a variety of traditional wind orchestra as well as 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425011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5D90285-68F7-E048-6DA2-8B57292BBA9E}"/>
              </a:ext>
            </a:extLst>
          </p:cNvPr>
          <p:cNvSpPr txBox="1"/>
          <p:nvPr/>
        </p:nvSpPr>
        <p:spPr>
          <a:xfrm>
            <a:off x="1127448" y="2924944"/>
            <a:ext cx="809158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b="1" dirty="0">
                <a:latin typeface="Arial" pitchFamily="34" charset="0"/>
              </a:rPr>
              <a:t>Three pipelines are currently planned:</a:t>
            </a:r>
          </a:p>
        </p:txBody>
      </p:sp>
    </p:spTree>
    <p:extLst>
      <p:ext uri="{BB962C8B-B14F-4D97-AF65-F5344CB8AC3E}">
        <p14:creationId xmlns:p14="http://schemas.microsoft.com/office/powerpoint/2010/main" val="4203255045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DF56A6-590C-9AE4-8883-23E91F0C4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 and goal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D6FCD3-36D5-6DA3-0ECC-055786BA2E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4DFDF2-1C7E-842A-1E76-82AD74889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E9A4F9-6F32-AFE4-E124-68A279540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1E61B-C0EC-2A06-6B36-E772DC6F05C4}"/>
              </a:ext>
            </a:extLst>
          </p:cNvPr>
          <p:cNvSpPr txBox="1"/>
          <p:nvPr/>
        </p:nvSpPr>
        <p:spPr>
          <a:xfrm>
            <a:off x="1307006" y="1351508"/>
            <a:ext cx="9685538" cy="45243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400" dirty="0">
                <a:latin typeface="Arial" pitchFamily="34" charset="0"/>
              </a:rPr>
              <a:t>Which generative data-to-text approach yields the best overall results?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>
              <a:latin typeface="Arial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latin typeface="Arial" pitchFamily="34" charset="0"/>
              </a:rPr>
              <a:t>How can creativity/variety of generative models be controlled and evaluated? How unique is the generated content?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>
              <a:latin typeface="Arial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latin typeface="Arial" pitchFamily="34" charset="0"/>
              </a:rPr>
              <a:t>How can we compare and rank similar generated text?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>
              <a:latin typeface="Arial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latin typeface="Arial" pitchFamily="34" charset="0"/>
              </a:rPr>
              <a:t>Are generated texts as fluent and coherent as human written text?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>
              <a:latin typeface="Arial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latin typeface="Arial" pitchFamily="34" charset="0"/>
              </a:rPr>
              <a:t>Are current NLG techniques accurate enough for a production environment and in contact with users?</a:t>
            </a:r>
            <a:endParaRPr lang="en-DE" sz="24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23512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-1530" y="908720"/>
            <a:ext cx="12192000" cy="7207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r" eaLnBrk="0" hangingPunct="0">
              <a:defRPr/>
            </a:pPr>
            <a:endParaRPr lang="de-DE" dirty="0">
              <a:solidFill>
                <a:schemeClr val="tx1"/>
              </a:solidFill>
              <a:latin typeface="Arial Unicode MS" pitchFamily="34" charset="-128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800" dirty="0"/>
              <a:t>Motivation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Methodology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Problem Statement and Goal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Approach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Time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/>
              <a:t>© sebi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C9FAB-BDC1-47C0-A8BB-6E12A8205D33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688139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-1530" y="3933056"/>
            <a:ext cx="12192000" cy="7207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r" eaLnBrk="0" hangingPunct="0">
              <a:defRPr/>
            </a:pPr>
            <a:endParaRPr lang="de-DE" dirty="0">
              <a:solidFill>
                <a:schemeClr val="tx1"/>
              </a:solidFill>
              <a:latin typeface="Arial Unicode MS" pitchFamily="34" charset="-128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800" dirty="0"/>
              <a:t>Motivation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Methodology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Problem Statement and Goal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Approach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Time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/>
              <a:t>© sebi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C9FAB-BDC1-47C0-A8BB-6E12A8205D33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8758335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15D7E01-76C6-2127-EDF5-06760B9DCF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9931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5D7E01-76C6-2127-EDF5-06760B9DC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00327C-ACB4-4F2C-1785-B1478A953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roach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0752D3-AE9C-9346-86CF-3BD01EB0F6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903" y="1018148"/>
            <a:ext cx="3025262" cy="503708"/>
          </a:xfrm>
        </p:spPr>
        <p:txBody>
          <a:bodyPr>
            <a:normAutofit lnSpcReduction="10000"/>
          </a:bodyPr>
          <a:lstStyle/>
          <a:p>
            <a:r>
              <a:rPr lang="en-US" sz="2800" b="1" dirty="0"/>
              <a:t>Dataset preview</a:t>
            </a:r>
          </a:p>
          <a:p>
            <a:endParaRPr lang="en-DE" sz="2800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853525-71F8-3282-BE63-3681DFBC2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D9F372-324E-A270-750B-9D5AE2434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D4B05B-10C5-6E74-70DF-347B30A18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887FAA3-4B90-BAA2-37DA-4624EBDB4A77}"/>
              </a:ext>
            </a:extLst>
          </p:cNvPr>
          <p:cNvCxnSpPr>
            <a:cxnSpLocks/>
            <a:stCxn id="37" idx="3"/>
          </p:cNvCxnSpPr>
          <p:nvPr/>
        </p:nvCxnSpPr>
        <p:spPr bwMode="auto">
          <a:xfrm>
            <a:off x="2135560" y="2249069"/>
            <a:ext cx="2088232" cy="331551"/>
          </a:xfrm>
          <a:prstGeom prst="straightConnector1">
            <a:avLst/>
          </a:prstGeom>
          <a:ln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2A78515-3FA6-5A0B-2565-1FD148C645B9}"/>
              </a:ext>
            </a:extLst>
          </p:cNvPr>
          <p:cNvSpPr txBox="1"/>
          <p:nvPr/>
        </p:nvSpPr>
        <p:spPr>
          <a:xfrm>
            <a:off x="1038667" y="3273494"/>
            <a:ext cx="504056" cy="17543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3600" b="1" dirty="0">
                <a:latin typeface="Arial" pitchFamily="34" charset="0"/>
              </a:rPr>
              <a:t>. . .</a:t>
            </a:r>
            <a:endParaRPr lang="en-DE" sz="3600" b="1" dirty="0">
              <a:latin typeface="Arial" pitchFamily="34" charset="0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637BCD5-EF8F-1597-8EA3-D992FEBC86AB}"/>
              </a:ext>
            </a:extLst>
          </p:cNvPr>
          <p:cNvCxnSpPr>
            <a:cxnSpLocks/>
          </p:cNvCxnSpPr>
          <p:nvPr/>
        </p:nvCxnSpPr>
        <p:spPr bwMode="auto">
          <a:xfrm flipV="1">
            <a:off x="2313086" y="2789312"/>
            <a:ext cx="1910706" cy="1143744"/>
          </a:xfrm>
          <a:prstGeom prst="straightConnector1">
            <a:avLst/>
          </a:prstGeom>
          <a:ln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FD30E25-19F8-8DF3-9D97-1D547B1BE4F8}"/>
              </a:ext>
            </a:extLst>
          </p:cNvPr>
          <p:cNvCxnSpPr>
            <a:cxnSpLocks/>
          </p:cNvCxnSpPr>
          <p:nvPr/>
        </p:nvCxnSpPr>
        <p:spPr bwMode="auto">
          <a:xfrm flipV="1">
            <a:off x="2363530" y="3040288"/>
            <a:ext cx="1860262" cy="1735712"/>
          </a:xfrm>
          <a:prstGeom prst="straightConnector1">
            <a:avLst/>
          </a:prstGeom>
          <a:ln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37" name="Table 37">
            <a:extLst>
              <a:ext uri="{FF2B5EF4-FFF2-40B4-BE49-F238E27FC236}">
                <a16:creationId xmlns:a16="http://schemas.microsoft.com/office/drawing/2014/main" id="{49DEFDAD-C03D-5412-9734-84C056A7E7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1182034"/>
              </p:ext>
            </p:extLst>
          </p:nvPr>
        </p:nvGraphicFramePr>
        <p:xfrm>
          <a:off x="445830" y="1606449"/>
          <a:ext cx="1689730" cy="12852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F5AB1C69-6EDB-4FF4-983F-18BD219EF322}</a:tableStyleId>
              </a:tblPr>
              <a:tblGrid>
                <a:gridCol w="1689730">
                  <a:extLst>
                    <a:ext uri="{9D8B030D-6E8A-4147-A177-3AD203B41FA5}">
                      <a16:colId xmlns:a16="http://schemas.microsoft.com/office/drawing/2014/main" val="32712752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rtist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979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</a:p>
                    <a:p>
                      <a:r>
                        <a:rPr lang="en-US" dirty="0"/>
                        <a:t>Location</a:t>
                      </a:r>
                    </a:p>
                    <a:p>
                      <a:r>
                        <a:rPr lang="en-US" dirty="0"/>
                        <a:t>Description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655634"/>
                  </a:ext>
                </a:extLst>
              </a:tr>
            </a:tbl>
          </a:graphicData>
        </a:graphic>
      </p:graphicFrame>
      <p:graphicFrame>
        <p:nvGraphicFramePr>
          <p:cNvPr id="39" name="Table 39">
            <a:extLst>
              <a:ext uri="{FF2B5EF4-FFF2-40B4-BE49-F238E27FC236}">
                <a16:creationId xmlns:a16="http://schemas.microsoft.com/office/drawing/2014/main" id="{A22A7829-49EA-036D-8323-E6B811F575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5662598"/>
              </p:ext>
            </p:extLst>
          </p:nvPr>
        </p:nvGraphicFramePr>
        <p:xfrm>
          <a:off x="4219236" y="1886278"/>
          <a:ext cx="2479824" cy="34798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F5AB1C69-6EDB-4FF4-983F-18BD219EF322}</a:tableStyleId>
              </a:tblPr>
              <a:tblGrid>
                <a:gridCol w="2479824">
                  <a:extLst>
                    <a:ext uri="{9D8B030D-6E8A-4147-A177-3AD203B41FA5}">
                      <a16:colId xmlns:a16="http://schemas.microsoft.com/office/drawing/2014/main" val="13540583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Formation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0677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</a:p>
                    <a:p>
                      <a:r>
                        <a:rPr lang="en-US" u="sng" dirty="0"/>
                        <a:t>Description</a:t>
                      </a:r>
                      <a:r>
                        <a:rPr lang="en-US" dirty="0"/>
                        <a:t> (target)</a:t>
                      </a:r>
                    </a:p>
                    <a:p>
                      <a:r>
                        <a:rPr lang="en-US" dirty="0"/>
                        <a:t>Location</a:t>
                      </a:r>
                    </a:p>
                    <a:p>
                      <a:r>
                        <a:rPr lang="en-US" dirty="0"/>
                        <a:t>Range</a:t>
                      </a:r>
                    </a:p>
                    <a:p>
                      <a:r>
                        <a:rPr lang="en-US" dirty="0"/>
                        <a:t>Contact information</a:t>
                      </a:r>
                    </a:p>
                    <a:p>
                      <a:r>
                        <a:rPr lang="en-US" dirty="0"/>
                        <a:t>Event types</a:t>
                      </a:r>
                    </a:p>
                    <a:p>
                      <a:r>
                        <a:rPr lang="en-US" dirty="0"/>
                        <a:t>Prices</a:t>
                      </a:r>
                    </a:p>
                    <a:p>
                      <a:r>
                        <a:rPr lang="en-US" dirty="0"/>
                        <a:t>Genres</a:t>
                      </a:r>
                    </a:p>
                    <a:p>
                      <a:r>
                        <a:rPr lang="en-US" dirty="0"/>
                        <a:t>Requirements</a:t>
                      </a:r>
                    </a:p>
                    <a:p>
                      <a:r>
                        <a:rPr lang="en-US" dirty="0"/>
                        <a:t>Song list</a:t>
                      </a:r>
                    </a:p>
                    <a:p>
                      <a:r>
                        <a:rPr lang="en-US" dirty="0"/>
                        <a:t>…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337506"/>
                  </a:ext>
                </a:extLst>
              </a:tr>
            </a:tbl>
          </a:graphicData>
        </a:graphic>
      </p:graphicFrame>
      <p:graphicFrame>
        <p:nvGraphicFramePr>
          <p:cNvPr id="44" name="Table 39">
            <a:extLst>
              <a:ext uri="{FF2B5EF4-FFF2-40B4-BE49-F238E27FC236}">
                <a16:creationId xmlns:a16="http://schemas.microsoft.com/office/drawing/2014/main" id="{692F591D-137F-705A-8BF6-3B793B5D1B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435978"/>
              </p:ext>
            </p:extLst>
          </p:nvPr>
        </p:nvGraphicFramePr>
        <p:xfrm>
          <a:off x="8688288" y="1293376"/>
          <a:ext cx="2479824" cy="155956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F5AB1C69-6EDB-4FF4-983F-18BD219EF322}</a:tableStyleId>
              </a:tblPr>
              <a:tblGrid>
                <a:gridCol w="2479824">
                  <a:extLst>
                    <a:ext uri="{9D8B030D-6E8A-4147-A177-3AD203B41FA5}">
                      <a16:colId xmlns:a16="http://schemas.microsoft.com/office/drawing/2014/main" val="13540583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Gig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0677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ocation</a:t>
                      </a:r>
                    </a:p>
                    <a:p>
                      <a:r>
                        <a:rPr lang="en-US" dirty="0"/>
                        <a:t>Date</a:t>
                      </a:r>
                    </a:p>
                    <a:p>
                      <a:r>
                        <a:rPr lang="en-US" dirty="0"/>
                        <a:t>…</a:t>
                      </a:r>
                    </a:p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337506"/>
                  </a:ext>
                </a:extLst>
              </a:tr>
            </a:tbl>
          </a:graphicData>
        </a:graphic>
      </p:graphicFrame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5C08D8E-D998-7E19-4CAE-B9C758734DB4}"/>
              </a:ext>
            </a:extLst>
          </p:cNvPr>
          <p:cNvCxnSpPr>
            <a:cxnSpLocks/>
            <a:stCxn id="44" idx="1"/>
          </p:cNvCxnSpPr>
          <p:nvPr/>
        </p:nvCxnSpPr>
        <p:spPr bwMode="auto">
          <a:xfrm flipH="1">
            <a:off x="6744072" y="2073156"/>
            <a:ext cx="1944216" cy="635764"/>
          </a:xfrm>
          <a:prstGeom prst="straightConnector1">
            <a:avLst/>
          </a:prstGeom>
          <a:ln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1E7A33F7-C922-6960-0224-B9F81823DBCC}"/>
              </a:ext>
            </a:extLst>
          </p:cNvPr>
          <p:cNvSpPr txBox="1"/>
          <p:nvPr/>
        </p:nvSpPr>
        <p:spPr>
          <a:xfrm>
            <a:off x="9840416" y="3286290"/>
            <a:ext cx="504056" cy="17543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3600" b="1" dirty="0">
                <a:latin typeface="Arial" pitchFamily="34" charset="0"/>
              </a:rPr>
              <a:t>. . .</a:t>
            </a:r>
            <a:endParaRPr lang="en-DE" sz="3600" b="1" dirty="0">
              <a:latin typeface="Arial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A42614D-72AA-59C3-4938-215435700E46}"/>
              </a:ext>
            </a:extLst>
          </p:cNvPr>
          <p:cNvGrpSpPr/>
          <p:nvPr/>
        </p:nvGrpSpPr>
        <p:grpSpPr>
          <a:xfrm>
            <a:off x="6703060" y="3717032"/>
            <a:ext cx="2057235" cy="2553256"/>
            <a:chOff x="6903862" y="3316796"/>
            <a:chExt cx="2571979" cy="3048420"/>
          </a:xfrm>
        </p:grpSpPr>
        <p:pic>
          <p:nvPicPr>
            <p:cNvPr id="13" name="Picture 12" descr="A red and white triangle sign with a black exclamation mark&#10;&#10;Description automatically generated with medium confidence">
              <a:extLst>
                <a:ext uri="{FF2B5EF4-FFF2-40B4-BE49-F238E27FC236}">
                  <a16:creationId xmlns:a16="http://schemas.microsoft.com/office/drawing/2014/main" id="{3471DEA0-9B9F-F29F-9B83-B9BE7D7D7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2104" y="3316796"/>
              <a:ext cx="2276745" cy="2276745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2177AD-9C06-19C1-5B5B-E940D4E34A02}"/>
                </a:ext>
              </a:extLst>
            </p:cNvPr>
            <p:cNvSpPr txBox="1"/>
            <p:nvPr/>
          </p:nvSpPr>
          <p:spPr>
            <a:xfrm>
              <a:off x="6903862" y="5593539"/>
              <a:ext cx="2571979" cy="771677"/>
            </a:xfrm>
            <a:prstGeom prst="rect">
              <a:avLst/>
            </a:prstGeom>
            <a:noFill/>
            <a:ln w="38100">
              <a:solidFill>
                <a:schemeClr val="tx2">
                  <a:lumMod val="90000"/>
                  <a:lumOff val="10000"/>
                </a:schemeClr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Arial" pitchFamily="34" charset="0"/>
                </a:rPr>
                <a:t>The descriptions are in German</a:t>
              </a:r>
              <a:endParaRPr lang="en-DE" b="1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74541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D653B12-A218-17FD-229B-123F40D386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3730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653B12-A218-17FD-229B-123F40D386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BA5287-0C75-C217-41D5-E5FF8308C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roach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464255-CA51-9F1C-F305-1277ECC0F4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434" y="981076"/>
            <a:ext cx="5689557" cy="1655835"/>
          </a:xfrm>
        </p:spPr>
        <p:txBody>
          <a:bodyPr>
            <a:noAutofit/>
          </a:bodyPr>
          <a:lstStyle/>
          <a:p>
            <a:r>
              <a:rPr lang="en-US" sz="3000" b="1" dirty="0"/>
              <a:t>How can the data be used?</a:t>
            </a:r>
          </a:p>
          <a:p>
            <a:endParaRPr lang="en-US" b="1" dirty="0"/>
          </a:p>
          <a:p>
            <a:r>
              <a:rPr lang="en-US" dirty="0"/>
              <a:t>As RDF triples:</a:t>
            </a:r>
          </a:p>
          <a:p>
            <a:endParaRPr lang="en-US" dirty="0"/>
          </a:p>
          <a:p>
            <a:r>
              <a:rPr lang="en-US" dirty="0"/>
              <a:t>		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8AE045-0208-C74A-FDF5-1A8ADF14B8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C2E25A-2DA4-212B-3ED7-443DA669D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8C75E8-1E9D-8FE9-85F3-1598BACFC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7FC442A-877B-F6DA-FA3F-3BA90D7BED92}"/>
              </a:ext>
            </a:extLst>
          </p:cNvPr>
          <p:cNvSpPr txBox="1"/>
          <p:nvPr/>
        </p:nvSpPr>
        <p:spPr>
          <a:xfrm>
            <a:off x="4223792" y="1813908"/>
            <a:ext cx="3456384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solidFill>
                  <a:schemeClr val="bg1">
                    <a:lumMod val="50000"/>
                  </a:schemeClr>
                </a:solidFill>
              </a:rPr>
              <a:t>Subject | Predicate | Object</a:t>
            </a:r>
          </a:p>
          <a:p>
            <a:endParaRPr lang="en-DE" dirty="0">
              <a:latin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28A15B-7425-42E8-B4CD-E5A8143B1663}"/>
              </a:ext>
            </a:extLst>
          </p:cNvPr>
          <p:cNvSpPr txBox="1"/>
          <p:nvPr/>
        </p:nvSpPr>
        <p:spPr>
          <a:xfrm>
            <a:off x="4007768" y="2482328"/>
            <a:ext cx="6048672" cy="1477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tx1"/>
                </a:solidFill>
              </a:rPr>
              <a:t>Abba | Artist_name | Agnetha_Fältskog</a:t>
            </a:r>
          </a:p>
          <a:p>
            <a:r>
              <a:rPr lang="fr-FR" dirty="0">
                <a:solidFill>
                  <a:schemeClr val="tx1"/>
                </a:solidFill>
              </a:rPr>
              <a:t>Abba | Artist_name | Björn Ulvaeus</a:t>
            </a:r>
          </a:p>
          <a:p>
            <a:r>
              <a:rPr lang="fr-FR" dirty="0">
                <a:solidFill>
                  <a:schemeClr val="tx1"/>
                </a:solidFill>
              </a:rPr>
              <a:t>Abba | Artist_name | Benny Andersson</a:t>
            </a:r>
          </a:p>
          <a:p>
            <a:r>
              <a:rPr lang="fr-FR" dirty="0">
                <a:solidFill>
                  <a:schemeClr val="tx1"/>
                </a:solidFill>
              </a:rPr>
              <a:t>Abba | Artist_name | Anni-Frid Lyngstad</a:t>
            </a:r>
          </a:p>
          <a:p>
            <a:endParaRPr lang="en-DE" dirty="0">
              <a:latin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C20CFA-713C-FDB0-0200-7BE8148C8DE2}"/>
              </a:ext>
            </a:extLst>
          </p:cNvPr>
          <p:cNvSpPr txBox="1"/>
          <p:nvPr/>
        </p:nvSpPr>
        <p:spPr>
          <a:xfrm>
            <a:off x="4007768" y="3607413"/>
            <a:ext cx="4680520" cy="12003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tx1"/>
                </a:solidFill>
              </a:rPr>
              <a:t>Abba | Genre | Pop</a:t>
            </a:r>
          </a:p>
          <a:p>
            <a:r>
              <a:rPr lang="fr-FR" dirty="0">
                <a:solidFill>
                  <a:schemeClr val="tx1"/>
                </a:solidFill>
              </a:rPr>
              <a:t>Abba | Genre | Disco</a:t>
            </a:r>
          </a:p>
          <a:p>
            <a:r>
              <a:rPr lang="fr-FR" dirty="0">
                <a:solidFill>
                  <a:schemeClr val="tx1"/>
                </a:solidFill>
              </a:rPr>
              <a:t>Abba | Genre | Pop_Rock</a:t>
            </a:r>
          </a:p>
          <a:p>
            <a:endParaRPr lang="en-DE" dirty="0">
              <a:latin typeface="Arial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2F346A-35C9-8C57-A550-1293806084EF}"/>
              </a:ext>
            </a:extLst>
          </p:cNvPr>
          <p:cNvSpPr txBox="1"/>
          <p:nvPr/>
        </p:nvSpPr>
        <p:spPr>
          <a:xfrm>
            <a:off x="4007768" y="4423327"/>
            <a:ext cx="4608512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>
                <a:latin typeface="Arial" pitchFamily="34" charset="0"/>
              </a:rPr>
              <a:t>Agnetha_Fältskog</a:t>
            </a:r>
            <a:r>
              <a:rPr lang="en-US" dirty="0">
                <a:latin typeface="Arial" pitchFamily="34" charset="0"/>
              </a:rPr>
              <a:t> | Role | </a:t>
            </a:r>
            <a:r>
              <a:rPr lang="fr-FR" dirty="0"/>
              <a:t>singer</a:t>
            </a:r>
          </a:p>
          <a:p>
            <a:r>
              <a:rPr lang="en-US" dirty="0" err="1">
                <a:latin typeface="Arial" pitchFamily="34" charset="0"/>
              </a:rPr>
              <a:t>Agnetha_Fältskog</a:t>
            </a:r>
            <a:r>
              <a:rPr lang="en-US" dirty="0">
                <a:latin typeface="Arial" pitchFamily="34" charset="0"/>
              </a:rPr>
              <a:t> | Role | </a:t>
            </a:r>
            <a:r>
              <a:rPr lang="fr-FR" dirty="0"/>
              <a:t>songwriter</a:t>
            </a:r>
            <a:endParaRPr lang="en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64227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think-cell data - do not delete" hidden="1">
            <a:extLst>
              <a:ext uri="{FF2B5EF4-FFF2-40B4-BE49-F238E27FC236}">
                <a16:creationId xmlns:a16="http://schemas.microsoft.com/office/drawing/2014/main" id="{094D538D-E6F7-EDDD-12FA-313A6DF8ED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2098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4D538D-E6F7-EDDD-12FA-313A6DF8E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A92DB8-5530-5193-7884-E06332096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903" y="45645"/>
            <a:ext cx="10586099" cy="720725"/>
          </a:xfrm>
        </p:spPr>
        <p:txBody>
          <a:bodyPr vert="horz"/>
          <a:lstStyle/>
          <a:p>
            <a:r>
              <a:rPr lang="en-US" dirty="0"/>
              <a:t>Approach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CC1A4-CB7A-A7C2-CDB3-ED13DC96E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EE99B9-2CE2-2386-10FE-E5AFAA538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84BC75-6B1E-5C81-7434-53FAB05F7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  <p:grpSp>
        <p:nvGrpSpPr>
          <p:cNvPr id="13" name="Gruppieren 61">
            <a:extLst>
              <a:ext uri="{FF2B5EF4-FFF2-40B4-BE49-F238E27FC236}">
                <a16:creationId xmlns:a16="http://schemas.microsoft.com/office/drawing/2014/main" id="{B9FC4FEA-EE4B-AFF6-7A13-B25F016CDE73}"/>
              </a:ext>
            </a:extLst>
          </p:cNvPr>
          <p:cNvGrpSpPr/>
          <p:nvPr/>
        </p:nvGrpSpPr>
        <p:grpSpPr>
          <a:xfrm>
            <a:off x="704385" y="2036982"/>
            <a:ext cx="1012116" cy="766898"/>
            <a:chOff x="6976839" y="1500827"/>
            <a:chExt cx="559874" cy="391616"/>
          </a:xfrm>
          <a:gradFill flip="none" rotWithShape="1">
            <a:gsLst>
              <a:gs pos="0">
                <a:srgbClr val="92D050"/>
              </a:gs>
              <a:gs pos="55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8900000" scaled="1"/>
            <a:tileRect/>
          </a:gradFill>
        </p:grpSpPr>
        <p:sp>
          <p:nvSpPr>
            <p:cNvPr id="14" name="Ellipse 42">
              <a:extLst>
                <a:ext uri="{FF2B5EF4-FFF2-40B4-BE49-F238E27FC236}">
                  <a16:creationId xmlns:a16="http://schemas.microsoft.com/office/drawing/2014/main" id="{C5CE1C44-924F-75C3-D1F7-751402804A5C}"/>
                </a:ext>
              </a:extLst>
            </p:cNvPr>
            <p:cNvSpPr/>
            <p:nvPr/>
          </p:nvSpPr>
          <p:spPr bwMode="auto">
            <a:xfrm>
              <a:off x="6976840" y="1766429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Ellipse 39">
              <a:extLst>
                <a:ext uri="{FF2B5EF4-FFF2-40B4-BE49-F238E27FC236}">
                  <a16:creationId xmlns:a16="http://schemas.microsoft.com/office/drawing/2014/main" id="{41D93199-F9DA-5208-0C91-E4360BEB7C6D}"/>
                </a:ext>
              </a:extLst>
            </p:cNvPr>
            <p:cNvSpPr/>
            <p:nvPr/>
          </p:nvSpPr>
          <p:spPr bwMode="auto">
            <a:xfrm>
              <a:off x="6976839" y="1700030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Ellipse 38">
              <a:extLst>
                <a:ext uri="{FF2B5EF4-FFF2-40B4-BE49-F238E27FC236}">
                  <a16:creationId xmlns:a16="http://schemas.microsoft.com/office/drawing/2014/main" id="{40A9E457-84FC-BC39-A9FA-4C500CF6A0BA}"/>
                </a:ext>
              </a:extLst>
            </p:cNvPr>
            <p:cNvSpPr/>
            <p:nvPr/>
          </p:nvSpPr>
          <p:spPr bwMode="auto">
            <a:xfrm>
              <a:off x="6976840" y="1633629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Ellipse 2">
              <a:extLst>
                <a:ext uri="{FF2B5EF4-FFF2-40B4-BE49-F238E27FC236}">
                  <a16:creationId xmlns:a16="http://schemas.microsoft.com/office/drawing/2014/main" id="{1D5D19D5-B311-80C7-DB9E-FD4205DC257A}"/>
                </a:ext>
              </a:extLst>
            </p:cNvPr>
            <p:cNvSpPr/>
            <p:nvPr/>
          </p:nvSpPr>
          <p:spPr bwMode="auto">
            <a:xfrm>
              <a:off x="6976840" y="1567228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Ellipse 44">
              <a:extLst>
                <a:ext uri="{FF2B5EF4-FFF2-40B4-BE49-F238E27FC236}">
                  <a16:creationId xmlns:a16="http://schemas.microsoft.com/office/drawing/2014/main" id="{C88CD253-C4EE-6B82-BE90-241650241B55}"/>
                </a:ext>
              </a:extLst>
            </p:cNvPr>
            <p:cNvSpPr/>
            <p:nvPr/>
          </p:nvSpPr>
          <p:spPr bwMode="auto">
            <a:xfrm>
              <a:off x="6976840" y="1500827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A0E59ADA-822B-B4ED-44DE-97DDC224A772}"/>
              </a:ext>
            </a:extLst>
          </p:cNvPr>
          <p:cNvSpPr txBox="1"/>
          <p:nvPr/>
        </p:nvSpPr>
        <p:spPr>
          <a:xfrm>
            <a:off x="598374" y="2764249"/>
            <a:ext cx="122413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rial" pitchFamily="34" charset="0"/>
              </a:rPr>
              <a:t>Dataset</a:t>
            </a:r>
            <a:endParaRPr lang="en-DE" dirty="0">
              <a:latin typeface="Arial" pitchFamily="34" charset="0"/>
            </a:endParaRPr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2C546F5C-434E-1254-D118-4D396BCD6813}"/>
              </a:ext>
            </a:extLst>
          </p:cNvPr>
          <p:cNvSpPr/>
          <p:nvPr/>
        </p:nvSpPr>
        <p:spPr bwMode="auto">
          <a:xfrm rot="15920739">
            <a:off x="1547684" y="1468744"/>
            <a:ext cx="743503" cy="788191"/>
          </a:xfrm>
          <a:prstGeom prst="arc">
            <a:avLst>
              <a:gd name="adj1" fmla="val 16200000"/>
              <a:gd name="adj2" fmla="val 11112057"/>
            </a:avLst>
          </a:prstGeom>
          <a:ln w="31750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504664-D7E0-A01B-309E-185997AAC024}"/>
              </a:ext>
            </a:extLst>
          </p:cNvPr>
          <p:cNvSpPr txBox="1"/>
          <p:nvPr/>
        </p:nvSpPr>
        <p:spPr>
          <a:xfrm>
            <a:off x="2360570" y="1356860"/>
            <a:ext cx="1656184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</a:rPr>
              <a:t>Data augmentation</a:t>
            </a:r>
            <a:endParaRPr lang="en-DE" dirty="0">
              <a:latin typeface="Arial" pitchFamily="34" charset="0"/>
            </a:endParaRPr>
          </a:p>
        </p:txBody>
      </p:sp>
      <p:grpSp>
        <p:nvGrpSpPr>
          <p:cNvPr id="36" name="Gruppieren 61">
            <a:extLst>
              <a:ext uri="{FF2B5EF4-FFF2-40B4-BE49-F238E27FC236}">
                <a16:creationId xmlns:a16="http://schemas.microsoft.com/office/drawing/2014/main" id="{0C144464-3FE9-CDF0-9764-EA311B59BF80}"/>
              </a:ext>
            </a:extLst>
          </p:cNvPr>
          <p:cNvGrpSpPr/>
          <p:nvPr/>
        </p:nvGrpSpPr>
        <p:grpSpPr>
          <a:xfrm>
            <a:off x="695402" y="4722039"/>
            <a:ext cx="1012116" cy="766898"/>
            <a:chOff x="6976839" y="1500827"/>
            <a:chExt cx="559874" cy="391616"/>
          </a:xfrm>
          <a:gradFill flip="none" rotWithShape="1">
            <a:gsLst>
              <a:gs pos="0">
                <a:schemeClr val="accent5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accent5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accent5">
                  <a:lumMod val="40000"/>
                  <a:lumOff val="60000"/>
                  <a:tint val="23500"/>
                  <a:satMod val="160000"/>
                </a:schemeClr>
              </a:gs>
            </a:gsLst>
            <a:lin ang="18900000" scaled="1"/>
            <a:tileRect/>
          </a:gradFill>
        </p:grpSpPr>
        <p:sp>
          <p:nvSpPr>
            <p:cNvPr id="37" name="Ellipse 42">
              <a:extLst>
                <a:ext uri="{FF2B5EF4-FFF2-40B4-BE49-F238E27FC236}">
                  <a16:creationId xmlns:a16="http://schemas.microsoft.com/office/drawing/2014/main" id="{04F1CFEC-C9C3-2F05-A037-069B8952683B}"/>
                </a:ext>
              </a:extLst>
            </p:cNvPr>
            <p:cNvSpPr/>
            <p:nvPr/>
          </p:nvSpPr>
          <p:spPr bwMode="auto">
            <a:xfrm>
              <a:off x="6976840" y="1766429"/>
              <a:ext cx="559873" cy="126014"/>
            </a:xfrm>
            <a:prstGeom prst="ellipse">
              <a:avLst/>
            </a:prstGeom>
            <a:grpFill/>
            <a:ln w="25400">
              <a:solidFill>
                <a:srgbClr val="000000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Ellipse 39">
              <a:extLst>
                <a:ext uri="{FF2B5EF4-FFF2-40B4-BE49-F238E27FC236}">
                  <a16:creationId xmlns:a16="http://schemas.microsoft.com/office/drawing/2014/main" id="{D128163D-8D4F-FC63-739F-F7D5BD881579}"/>
                </a:ext>
              </a:extLst>
            </p:cNvPr>
            <p:cNvSpPr/>
            <p:nvPr/>
          </p:nvSpPr>
          <p:spPr bwMode="auto">
            <a:xfrm>
              <a:off x="6976839" y="1700030"/>
              <a:ext cx="559873" cy="126014"/>
            </a:xfrm>
            <a:prstGeom prst="ellipse">
              <a:avLst/>
            </a:prstGeom>
            <a:grpFill/>
            <a:ln w="25400">
              <a:solidFill>
                <a:srgbClr val="000000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A1C2CD30-07D5-9D8C-9571-668CFB1ED390}"/>
                </a:ext>
              </a:extLst>
            </p:cNvPr>
            <p:cNvSpPr/>
            <p:nvPr/>
          </p:nvSpPr>
          <p:spPr bwMode="auto">
            <a:xfrm>
              <a:off x="6976840" y="1633629"/>
              <a:ext cx="559873" cy="126014"/>
            </a:xfrm>
            <a:prstGeom prst="ellipse">
              <a:avLst/>
            </a:prstGeom>
            <a:grpFill/>
            <a:ln w="25400">
              <a:solidFill>
                <a:srgbClr val="000000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Ellipse 2">
              <a:extLst>
                <a:ext uri="{FF2B5EF4-FFF2-40B4-BE49-F238E27FC236}">
                  <a16:creationId xmlns:a16="http://schemas.microsoft.com/office/drawing/2014/main" id="{ED3098D8-54B2-3ADB-99DB-89004E8F3439}"/>
                </a:ext>
              </a:extLst>
            </p:cNvPr>
            <p:cNvSpPr/>
            <p:nvPr/>
          </p:nvSpPr>
          <p:spPr bwMode="auto">
            <a:xfrm>
              <a:off x="6976840" y="1567228"/>
              <a:ext cx="559873" cy="126014"/>
            </a:xfrm>
            <a:prstGeom prst="ellipse">
              <a:avLst/>
            </a:prstGeom>
            <a:grpFill/>
            <a:ln w="25400">
              <a:solidFill>
                <a:srgbClr val="000000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Ellipse 44">
              <a:extLst>
                <a:ext uri="{FF2B5EF4-FFF2-40B4-BE49-F238E27FC236}">
                  <a16:creationId xmlns:a16="http://schemas.microsoft.com/office/drawing/2014/main" id="{B8529A6B-B95D-97A2-06A7-841E4BEAD67C}"/>
                </a:ext>
              </a:extLst>
            </p:cNvPr>
            <p:cNvSpPr/>
            <p:nvPr/>
          </p:nvSpPr>
          <p:spPr bwMode="auto">
            <a:xfrm>
              <a:off x="6976840" y="1500827"/>
              <a:ext cx="559873" cy="126014"/>
            </a:xfrm>
            <a:prstGeom prst="ellipse">
              <a:avLst/>
            </a:prstGeom>
            <a:grpFill/>
            <a:ln w="25400">
              <a:solidFill>
                <a:srgbClr val="000000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D169B8D2-F061-CB56-F079-043937FE57B6}"/>
              </a:ext>
            </a:extLst>
          </p:cNvPr>
          <p:cNvSpPr txBox="1"/>
          <p:nvPr/>
        </p:nvSpPr>
        <p:spPr>
          <a:xfrm>
            <a:off x="589391" y="5488937"/>
            <a:ext cx="1224136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rial" pitchFamily="34" charset="0"/>
              </a:rPr>
              <a:t>Additional Datasets</a:t>
            </a:r>
            <a:endParaRPr lang="en-DE" dirty="0">
              <a:latin typeface="Arial" pitchFamily="34" charset="0"/>
            </a:endParaRPr>
          </a:p>
        </p:txBody>
      </p:sp>
      <p:sp>
        <p:nvSpPr>
          <p:cNvPr id="44" name="Flowchart: Preparation 43">
            <a:extLst>
              <a:ext uri="{FF2B5EF4-FFF2-40B4-BE49-F238E27FC236}">
                <a16:creationId xmlns:a16="http://schemas.microsoft.com/office/drawing/2014/main" id="{869805EB-FD1D-2A26-F45A-2019B89A416C}"/>
              </a:ext>
            </a:extLst>
          </p:cNvPr>
          <p:cNvSpPr/>
          <p:nvPr/>
        </p:nvSpPr>
        <p:spPr bwMode="auto">
          <a:xfrm>
            <a:off x="2324943" y="3334391"/>
            <a:ext cx="1512168" cy="646331"/>
          </a:xfrm>
          <a:prstGeom prst="flowChartPreparation">
            <a:avLst/>
          </a:prstGeom>
          <a:solidFill>
            <a:schemeClr val="bg1"/>
          </a:solidFill>
          <a:ln w="508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RDF</a:t>
            </a: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A8113CA8-5FAE-A400-D9AB-50926C470BD8}"/>
              </a:ext>
            </a:extLst>
          </p:cNvPr>
          <p:cNvCxnSpPr>
            <a:cxnSpLocks/>
          </p:cNvCxnSpPr>
          <p:nvPr/>
        </p:nvCxnSpPr>
        <p:spPr bwMode="auto">
          <a:xfrm>
            <a:off x="1857142" y="2771234"/>
            <a:ext cx="581628" cy="602101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948DC98-514C-C80C-354C-0B4A5D7D557A}"/>
              </a:ext>
            </a:extLst>
          </p:cNvPr>
          <p:cNvCxnSpPr>
            <a:cxnSpLocks/>
          </p:cNvCxnSpPr>
          <p:nvPr/>
        </p:nvCxnSpPr>
        <p:spPr bwMode="auto">
          <a:xfrm flipV="1">
            <a:off x="1894521" y="3927321"/>
            <a:ext cx="516638" cy="892181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1CCD89DC-B87C-DC0E-C44C-92F10355C210}"/>
              </a:ext>
            </a:extLst>
          </p:cNvPr>
          <p:cNvSpPr txBox="1"/>
          <p:nvPr/>
        </p:nvSpPr>
        <p:spPr>
          <a:xfrm>
            <a:off x="2316145" y="3977115"/>
            <a:ext cx="1584176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rial" pitchFamily="34" charset="0"/>
              </a:rPr>
              <a:t>Prepare and linearize</a:t>
            </a:r>
            <a:endParaRPr lang="en-DE" dirty="0">
              <a:latin typeface="Arial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3D0FF543-B490-C729-4DDF-691143FA2A15}"/>
              </a:ext>
            </a:extLst>
          </p:cNvPr>
          <p:cNvSpPr/>
          <p:nvPr/>
        </p:nvSpPr>
        <p:spPr bwMode="auto">
          <a:xfrm>
            <a:off x="4871864" y="1402393"/>
            <a:ext cx="4700934" cy="4429363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BC0D2E1-994C-A2B3-0FAD-7899BAB8FDFB}"/>
              </a:ext>
            </a:extLst>
          </p:cNvPr>
          <p:cNvSpPr txBox="1"/>
          <p:nvPr/>
        </p:nvSpPr>
        <p:spPr>
          <a:xfrm>
            <a:off x="5384905" y="1619305"/>
            <a:ext cx="2304256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b="1" dirty="0">
                <a:latin typeface="Arial" pitchFamily="34" charset="0"/>
              </a:rPr>
              <a:t>Models</a:t>
            </a:r>
          </a:p>
        </p:txBody>
      </p:sp>
      <p:sp>
        <p:nvSpPr>
          <p:cNvPr id="57" name="Flowchart: Decision 56">
            <a:extLst>
              <a:ext uri="{FF2B5EF4-FFF2-40B4-BE49-F238E27FC236}">
                <a16:creationId xmlns:a16="http://schemas.microsoft.com/office/drawing/2014/main" id="{1D7AC13D-055F-0C02-971C-793BCA5CE832}"/>
              </a:ext>
            </a:extLst>
          </p:cNvPr>
          <p:cNvSpPr/>
          <p:nvPr/>
        </p:nvSpPr>
        <p:spPr bwMode="auto">
          <a:xfrm>
            <a:off x="5045280" y="3592750"/>
            <a:ext cx="992677" cy="648072"/>
          </a:xfrm>
          <a:prstGeom prst="flowChartDecision">
            <a:avLst/>
          </a:prstGeom>
          <a:solidFill>
            <a:schemeClr val="bg1">
              <a:lumMod val="75000"/>
            </a:schemeClr>
          </a:solidFill>
          <a:ln w="508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8" name="Flowchart: Process 57">
            <a:extLst>
              <a:ext uri="{FF2B5EF4-FFF2-40B4-BE49-F238E27FC236}">
                <a16:creationId xmlns:a16="http://schemas.microsoft.com/office/drawing/2014/main" id="{A703550A-B774-C89B-BFA5-60DC52EA5C5C}"/>
              </a:ext>
            </a:extLst>
          </p:cNvPr>
          <p:cNvSpPr/>
          <p:nvPr/>
        </p:nvSpPr>
        <p:spPr bwMode="auto">
          <a:xfrm>
            <a:off x="6773472" y="2243845"/>
            <a:ext cx="1440160" cy="599948"/>
          </a:xfrm>
          <a:prstGeom prst="flowChartProcess">
            <a:avLst/>
          </a:prstGeom>
          <a:solidFill>
            <a:schemeClr val="bg1">
              <a:lumMod val="75000"/>
            </a:schemeClr>
          </a:solidFill>
          <a:ln w="508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9" name="Flowchart: Process 58">
            <a:extLst>
              <a:ext uri="{FF2B5EF4-FFF2-40B4-BE49-F238E27FC236}">
                <a16:creationId xmlns:a16="http://schemas.microsoft.com/office/drawing/2014/main" id="{F595714B-572B-C0A9-64EB-3C7622CD9C99}"/>
              </a:ext>
            </a:extLst>
          </p:cNvPr>
          <p:cNvSpPr/>
          <p:nvPr/>
        </p:nvSpPr>
        <p:spPr bwMode="auto">
          <a:xfrm>
            <a:off x="6773472" y="3057609"/>
            <a:ext cx="1440160" cy="599948"/>
          </a:xfrm>
          <a:prstGeom prst="flowChartProcess">
            <a:avLst/>
          </a:prstGeom>
          <a:solidFill>
            <a:schemeClr val="bg1">
              <a:lumMod val="75000"/>
            </a:schemeClr>
          </a:solidFill>
          <a:ln w="508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0" name="Flowchart: Process 59">
            <a:extLst>
              <a:ext uri="{FF2B5EF4-FFF2-40B4-BE49-F238E27FC236}">
                <a16:creationId xmlns:a16="http://schemas.microsoft.com/office/drawing/2014/main" id="{299E4834-BA6F-8F50-C3B8-237D8C76D643}"/>
              </a:ext>
            </a:extLst>
          </p:cNvPr>
          <p:cNvSpPr/>
          <p:nvPr/>
        </p:nvSpPr>
        <p:spPr bwMode="auto">
          <a:xfrm>
            <a:off x="6776615" y="3871373"/>
            <a:ext cx="1440160" cy="599948"/>
          </a:xfrm>
          <a:prstGeom prst="flowChartProcess">
            <a:avLst/>
          </a:prstGeom>
          <a:solidFill>
            <a:schemeClr val="bg1">
              <a:lumMod val="75000"/>
            </a:schemeClr>
          </a:solidFill>
          <a:ln w="508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06EE4C0-B76E-7042-F39E-47B462BB9A30}"/>
              </a:ext>
            </a:extLst>
          </p:cNvPr>
          <p:cNvSpPr txBox="1"/>
          <p:nvPr/>
        </p:nvSpPr>
        <p:spPr>
          <a:xfrm>
            <a:off x="6967587" y="4784431"/>
            <a:ext cx="1008112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Arial" pitchFamily="34" charset="0"/>
              </a:rPr>
              <a:t>. . .</a:t>
            </a:r>
            <a:endParaRPr lang="en-DE" sz="2400" b="1" dirty="0">
              <a:latin typeface="Arial" pitchFamily="34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AA649928-50FB-FD35-8D28-AE1ECEE1A9C9}"/>
              </a:ext>
            </a:extLst>
          </p:cNvPr>
          <p:cNvCxnSpPr>
            <a:cxnSpLocks/>
          </p:cNvCxnSpPr>
          <p:nvPr/>
        </p:nvCxnSpPr>
        <p:spPr bwMode="auto">
          <a:xfrm>
            <a:off x="3971319" y="3671237"/>
            <a:ext cx="900545" cy="245549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11CF4B2D-6D85-D8A5-8B85-1A2D83717CDD}"/>
              </a:ext>
            </a:extLst>
          </p:cNvPr>
          <p:cNvCxnSpPr>
            <a:cxnSpLocks/>
          </p:cNvCxnSpPr>
          <p:nvPr/>
        </p:nvCxnSpPr>
        <p:spPr bwMode="auto">
          <a:xfrm flipV="1">
            <a:off x="6119685" y="3473059"/>
            <a:ext cx="509771" cy="396357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D805D66-B37C-DB6F-AF4D-3D2E007929DD}"/>
              </a:ext>
            </a:extLst>
          </p:cNvPr>
          <p:cNvCxnSpPr>
            <a:cxnSpLocks/>
          </p:cNvCxnSpPr>
          <p:nvPr/>
        </p:nvCxnSpPr>
        <p:spPr bwMode="auto">
          <a:xfrm flipV="1">
            <a:off x="6037957" y="2619699"/>
            <a:ext cx="663507" cy="1141392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708D98B0-9C8F-556C-473A-30BEC723CFF9}"/>
              </a:ext>
            </a:extLst>
          </p:cNvPr>
          <p:cNvCxnSpPr>
            <a:cxnSpLocks/>
          </p:cNvCxnSpPr>
          <p:nvPr/>
        </p:nvCxnSpPr>
        <p:spPr bwMode="auto">
          <a:xfrm>
            <a:off x="6119685" y="3977115"/>
            <a:ext cx="509771" cy="72008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706F0223-96EB-88D1-7C50-45BCF3C4E984}"/>
              </a:ext>
            </a:extLst>
          </p:cNvPr>
          <p:cNvCxnSpPr>
            <a:cxnSpLocks/>
          </p:cNvCxnSpPr>
          <p:nvPr/>
        </p:nvCxnSpPr>
        <p:spPr bwMode="auto">
          <a:xfrm>
            <a:off x="6037957" y="4049123"/>
            <a:ext cx="591499" cy="565328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5" name="Flowchart: Alternate Process 74">
            <a:extLst>
              <a:ext uri="{FF2B5EF4-FFF2-40B4-BE49-F238E27FC236}">
                <a16:creationId xmlns:a16="http://schemas.microsoft.com/office/drawing/2014/main" id="{DE96ECB6-7677-3DBD-DDAD-BF71E259136D}"/>
              </a:ext>
            </a:extLst>
          </p:cNvPr>
          <p:cNvSpPr/>
          <p:nvPr/>
        </p:nvSpPr>
        <p:spPr bwMode="auto">
          <a:xfrm>
            <a:off x="9897184" y="3015859"/>
            <a:ext cx="1584176" cy="703659"/>
          </a:xfrm>
          <a:prstGeom prst="flowChartAlternateProcess">
            <a:avLst/>
          </a:prstGeom>
          <a:gradFill flip="none" rotWithShape="1">
            <a:gsLst>
              <a:gs pos="0">
                <a:schemeClr val="accent4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accent4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accent4">
                  <a:lumMod val="50000"/>
                  <a:lumOff val="5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317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Output</a:t>
            </a: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3" name="Flowchart: Alternate Process 82">
            <a:extLst>
              <a:ext uri="{FF2B5EF4-FFF2-40B4-BE49-F238E27FC236}">
                <a16:creationId xmlns:a16="http://schemas.microsoft.com/office/drawing/2014/main" id="{A2A438CD-B0A2-E39D-5D75-366C9A7A4D8F}"/>
              </a:ext>
            </a:extLst>
          </p:cNvPr>
          <p:cNvSpPr/>
          <p:nvPr/>
        </p:nvSpPr>
        <p:spPr bwMode="auto">
          <a:xfrm>
            <a:off x="10049584" y="3168259"/>
            <a:ext cx="1584176" cy="703659"/>
          </a:xfrm>
          <a:prstGeom prst="flowChartAlternateProcess">
            <a:avLst/>
          </a:prstGeom>
          <a:gradFill flip="none" rotWithShape="1">
            <a:gsLst>
              <a:gs pos="0">
                <a:schemeClr val="accent4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accent4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accent4">
                  <a:lumMod val="50000"/>
                  <a:lumOff val="5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317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Output</a:t>
            </a: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4" name="Flowchart: Alternate Process 83">
            <a:extLst>
              <a:ext uri="{FF2B5EF4-FFF2-40B4-BE49-F238E27FC236}">
                <a16:creationId xmlns:a16="http://schemas.microsoft.com/office/drawing/2014/main" id="{354ECDC4-7084-677A-182E-77DE75420E9F}"/>
              </a:ext>
            </a:extLst>
          </p:cNvPr>
          <p:cNvSpPr/>
          <p:nvPr/>
        </p:nvSpPr>
        <p:spPr bwMode="auto">
          <a:xfrm>
            <a:off x="10201984" y="3320659"/>
            <a:ext cx="1584176" cy="703659"/>
          </a:xfrm>
          <a:prstGeom prst="flowChartAlternateProcess">
            <a:avLst/>
          </a:prstGeom>
          <a:gradFill flip="none" rotWithShape="1">
            <a:gsLst>
              <a:gs pos="0">
                <a:schemeClr val="accent4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accent4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accent4">
                  <a:lumMod val="50000"/>
                  <a:lumOff val="5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317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Output</a:t>
            </a: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5" name="Flowchart: Alternate Process 84">
            <a:extLst>
              <a:ext uri="{FF2B5EF4-FFF2-40B4-BE49-F238E27FC236}">
                <a16:creationId xmlns:a16="http://schemas.microsoft.com/office/drawing/2014/main" id="{3A69438F-4A2B-C6F3-0D77-A0B4B6E75620}"/>
              </a:ext>
            </a:extLst>
          </p:cNvPr>
          <p:cNvSpPr/>
          <p:nvPr/>
        </p:nvSpPr>
        <p:spPr bwMode="auto">
          <a:xfrm>
            <a:off x="10354384" y="3473059"/>
            <a:ext cx="1584176" cy="703659"/>
          </a:xfrm>
          <a:prstGeom prst="flowChartAlternateProcess">
            <a:avLst/>
          </a:prstGeom>
          <a:gradFill flip="none" rotWithShape="1">
            <a:gsLst>
              <a:gs pos="0">
                <a:schemeClr val="accent4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accent4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accent4">
                  <a:lumMod val="50000"/>
                  <a:lumOff val="5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317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Output Text</a:t>
            </a: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BD15191A-CB01-1932-2357-67CBE94D1B77}"/>
              </a:ext>
            </a:extLst>
          </p:cNvPr>
          <p:cNvCxnSpPr>
            <a:cxnSpLocks/>
          </p:cNvCxnSpPr>
          <p:nvPr/>
        </p:nvCxnSpPr>
        <p:spPr bwMode="auto">
          <a:xfrm>
            <a:off x="8342030" y="2673851"/>
            <a:ext cx="1426756" cy="583184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94E4AD31-8542-A6F6-1748-C010727F0F18}"/>
              </a:ext>
            </a:extLst>
          </p:cNvPr>
          <p:cNvCxnSpPr>
            <a:cxnSpLocks/>
          </p:cNvCxnSpPr>
          <p:nvPr/>
        </p:nvCxnSpPr>
        <p:spPr bwMode="auto">
          <a:xfrm>
            <a:off x="8342030" y="3410138"/>
            <a:ext cx="1426756" cy="62921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7AAA396-9842-1431-2E47-6A8B5175D784}"/>
              </a:ext>
            </a:extLst>
          </p:cNvPr>
          <p:cNvCxnSpPr>
            <a:cxnSpLocks/>
          </p:cNvCxnSpPr>
          <p:nvPr/>
        </p:nvCxnSpPr>
        <p:spPr bwMode="auto">
          <a:xfrm flipV="1">
            <a:off x="8366032" y="3688818"/>
            <a:ext cx="1402754" cy="482529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6D8DD978-59A9-777B-F9E1-A173AE55A0FA}"/>
              </a:ext>
            </a:extLst>
          </p:cNvPr>
          <p:cNvCxnSpPr>
            <a:cxnSpLocks/>
          </p:cNvCxnSpPr>
          <p:nvPr/>
        </p:nvCxnSpPr>
        <p:spPr bwMode="auto">
          <a:xfrm flipV="1">
            <a:off x="8363934" y="3916786"/>
            <a:ext cx="1498647" cy="709225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56F72ED1-3030-A420-3564-97BA29FB7978}"/>
              </a:ext>
            </a:extLst>
          </p:cNvPr>
          <p:cNvSpPr txBox="1"/>
          <p:nvPr/>
        </p:nvSpPr>
        <p:spPr>
          <a:xfrm>
            <a:off x="10049584" y="4331787"/>
            <a:ext cx="1888976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b="1" u="sng" dirty="0">
                <a:latin typeface="Arial" pitchFamily="34" charset="0"/>
              </a:rPr>
              <a:t>Evaluate</a:t>
            </a:r>
            <a:endParaRPr lang="en-DE" sz="2000" b="1" u="sng" dirty="0">
              <a:latin typeface="Arial" pitchFamily="34" charset="0"/>
            </a:endParaRPr>
          </a:p>
        </p:txBody>
      </p:sp>
      <p:sp>
        <p:nvSpPr>
          <p:cNvPr id="101" name="Arc 100">
            <a:extLst>
              <a:ext uri="{FF2B5EF4-FFF2-40B4-BE49-F238E27FC236}">
                <a16:creationId xmlns:a16="http://schemas.microsoft.com/office/drawing/2014/main" id="{BD955F50-9B68-3685-EC33-75771B01BE01}"/>
              </a:ext>
            </a:extLst>
          </p:cNvPr>
          <p:cNvSpPr/>
          <p:nvPr/>
        </p:nvSpPr>
        <p:spPr bwMode="auto">
          <a:xfrm rot="2538500">
            <a:off x="9160076" y="4229561"/>
            <a:ext cx="1642423" cy="1923731"/>
          </a:xfrm>
          <a:prstGeom prst="arc">
            <a:avLst>
              <a:gd name="adj1" fmla="val 18823296"/>
              <a:gd name="adj2" fmla="val 4690067"/>
            </a:avLst>
          </a:prstGeom>
          <a:ln w="31750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1BE79E4-88F6-5FCE-36D2-FBF3E5DAFEE1}"/>
              </a:ext>
            </a:extLst>
          </p:cNvPr>
          <p:cNvSpPr txBox="1"/>
          <p:nvPr/>
        </p:nvSpPr>
        <p:spPr>
          <a:xfrm rot="19140272">
            <a:off x="9815464" y="5725383"/>
            <a:ext cx="1584176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Arial" pitchFamily="34" charset="0"/>
              </a:rPr>
              <a:t>Iterate</a:t>
            </a:r>
            <a:endParaRPr lang="en-DE" sz="2000" dirty="0">
              <a:latin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C29AB3-4854-217F-58EE-5BDDFEE77226}"/>
              </a:ext>
            </a:extLst>
          </p:cNvPr>
          <p:cNvSpPr txBox="1"/>
          <p:nvPr/>
        </p:nvSpPr>
        <p:spPr>
          <a:xfrm>
            <a:off x="332903" y="776612"/>
            <a:ext cx="288032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b="1" dirty="0">
                <a:latin typeface="Arial" pitchFamily="34" charset="0"/>
              </a:rPr>
              <a:t>Building the pipelines</a:t>
            </a:r>
          </a:p>
        </p:txBody>
      </p:sp>
    </p:spTree>
    <p:extLst>
      <p:ext uri="{BB962C8B-B14F-4D97-AF65-F5344CB8AC3E}">
        <p14:creationId xmlns:p14="http://schemas.microsoft.com/office/powerpoint/2010/main" val="345377961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2" grpId="0" animBg="1"/>
      <p:bldP spid="33" grpId="0"/>
      <p:bldP spid="43" grpId="0"/>
      <p:bldP spid="44" grpId="0" animBg="1"/>
      <p:bldP spid="53" grpId="0"/>
      <p:bldP spid="54" grpId="0" animBg="1"/>
      <p:bldP spid="55" grpId="0"/>
      <p:bldP spid="57" grpId="0" animBg="1"/>
      <p:bldP spid="58" grpId="0" animBg="1"/>
      <p:bldP spid="59" grpId="0" animBg="1"/>
      <p:bldP spid="60" grpId="0" animBg="1"/>
      <p:bldP spid="61" grpId="0"/>
      <p:bldP spid="75" grpId="0" animBg="1"/>
      <p:bldP spid="83" grpId="0" animBg="1"/>
      <p:bldP spid="84" grpId="0" animBg="1"/>
      <p:bldP spid="85" grpId="0" animBg="1"/>
      <p:bldP spid="100" grpId="0"/>
      <p:bldP spid="101" grpId="0" animBg="1"/>
      <p:bldP spid="10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ECBA073-A15B-A81E-0368-501C9F6F73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2079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CBA073-A15B-A81E-0368-501C9F6F73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458A834A-199B-23E8-EA7B-DF372767D2C7}"/>
              </a:ext>
            </a:extLst>
          </p:cNvPr>
          <p:cNvSpPr/>
          <p:nvPr/>
        </p:nvSpPr>
        <p:spPr bwMode="auto">
          <a:xfrm>
            <a:off x="332903" y="1096941"/>
            <a:ext cx="6915226" cy="5760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778CC1-5D66-2EC2-9793-F30617743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B50828-F281-FE46-6AE4-583B951BA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903" y="1146425"/>
            <a:ext cx="10300527" cy="5090887"/>
          </a:xfrm>
        </p:spPr>
        <p:txBody>
          <a:bodyPr>
            <a:normAutofit/>
          </a:bodyPr>
          <a:lstStyle/>
          <a:p>
            <a:r>
              <a:rPr lang="en-GB" sz="2400" dirty="0"/>
              <a:t>How can we control the uniqueness of the output? </a:t>
            </a:r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tudy possible repetitions/word schemas in-between tex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  <a:tabLst>
                <a:tab pos="984250" algn="l"/>
              </a:tabLst>
            </a:pPr>
            <a:r>
              <a:rPr lang="en-GB" dirty="0"/>
              <a:t>Adapt parameters where necessary:</a:t>
            </a:r>
            <a:br>
              <a:rPr lang="en-GB" dirty="0"/>
            </a:br>
            <a:r>
              <a:rPr lang="en-GB" dirty="0"/>
              <a:t>	</a:t>
            </a:r>
            <a:r>
              <a:rPr lang="en-GB" u="sng" dirty="0"/>
              <a:t>Temperature</a:t>
            </a:r>
            <a:r>
              <a:rPr lang="en-GB" dirty="0"/>
              <a:t>: values between 0 and 1 with lower values making the model more focused 	and deterministic and higher values more random</a:t>
            </a:r>
          </a:p>
          <a:p>
            <a:pPr marL="0" indent="0">
              <a:tabLst>
                <a:tab pos="984250" algn="l"/>
              </a:tabLst>
            </a:pPr>
            <a:r>
              <a:rPr lang="en-GB" dirty="0"/>
              <a:t>	</a:t>
            </a:r>
            <a:r>
              <a:rPr lang="en-GB" u="sng" dirty="0"/>
              <a:t>Prompts</a:t>
            </a:r>
            <a:r>
              <a:rPr lang="en-GB" dirty="0"/>
              <a:t>: Modifying prompts will also modify the output and can nudge the model in the 	required direction</a:t>
            </a:r>
          </a:p>
          <a:p>
            <a:pPr marL="0" indent="0">
              <a:tabLst>
                <a:tab pos="984250" algn="l"/>
              </a:tabLst>
            </a:pPr>
            <a:r>
              <a:rPr lang="en-GB" dirty="0"/>
              <a:t>	</a:t>
            </a:r>
            <a:r>
              <a:rPr lang="en-GB" u="sng" dirty="0"/>
              <a:t>Penalty terms in loss function</a:t>
            </a:r>
            <a:r>
              <a:rPr lang="en-GB" dirty="0"/>
              <a:t>: When accessible, the loss function can add a diversity 	reward or an N-gram repetition penalty to modify the output.</a:t>
            </a:r>
            <a:endParaRPr lang="en-GB" u="sng" dirty="0"/>
          </a:p>
          <a:p>
            <a:pPr marL="0" indent="0">
              <a:tabLst>
                <a:tab pos="539750" algn="l"/>
              </a:tabLst>
            </a:pPr>
            <a:endParaRPr lang="en-GB" dirty="0"/>
          </a:p>
          <a:p>
            <a:pPr marL="0" indent="0">
              <a:tabLst>
                <a:tab pos="539750" algn="l"/>
              </a:tabLst>
            </a:pPr>
            <a:r>
              <a:rPr lang="en-GB" b="1" dirty="0"/>
              <a:t>	</a:t>
            </a:r>
            <a:r>
              <a:rPr lang="en-GB" b="1" dirty="0">
                <a:sym typeface="Wingdings" panose="05000000000000000000" pitchFamily="2" charset="2"/>
              </a:rPr>
              <a:t> More diversity might come at the cost of lesser quality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64704E-FE04-F1AC-2D03-91396F03F5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B3E9BD-3DF7-FAE1-E156-311E3BC3A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2F61A3-73AF-F904-785C-65C79D644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6637556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6A4772D-D5C5-10AA-0A89-112F499457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395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A4772D-D5C5-10AA-0A89-112F499457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713E55-7DBF-25B2-868C-65F57CDC091B}"/>
              </a:ext>
            </a:extLst>
          </p:cNvPr>
          <p:cNvSpPr/>
          <p:nvPr/>
        </p:nvSpPr>
        <p:spPr bwMode="auto">
          <a:xfrm>
            <a:off x="2737821" y="4901050"/>
            <a:ext cx="6705785" cy="747545"/>
          </a:xfrm>
          <a:custGeom>
            <a:avLst/>
            <a:gdLst>
              <a:gd name="connsiteX0" fmla="*/ 0 w 2307515"/>
              <a:gd name="connsiteY0" fmla="*/ 570155 h 779929"/>
              <a:gd name="connsiteX1" fmla="*/ 2307515 w 2307515"/>
              <a:gd name="connsiteY1" fmla="*/ 0 h 779929"/>
              <a:gd name="connsiteX2" fmla="*/ 2286000 w 2307515"/>
              <a:gd name="connsiteY2" fmla="*/ 779929 h 779929"/>
              <a:gd name="connsiteX3" fmla="*/ 0 w 2307515"/>
              <a:gd name="connsiteY3" fmla="*/ 570155 h 779929"/>
              <a:gd name="connsiteX0" fmla="*/ 0 w 4942761"/>
              <a:gd name="connsiteY0" fmla="*/ 570155 h 4128190"/>
              <a:gd name="connsiteX1" fmla="*/ 2307515 w 4942761"/>
              <a:gd name="connsiteY1" fmla="*/ 0 h 4128190"/>
              <a:gd name="connsiteX2" fmla="*/ 4942761 w 4942761"/>
              <a:gd name="connsiteY2" fmla="*/ 4128190 h 4128190"/>
              <a:gd name="connsiteX3" fmla="*/ 0 w 4942761"/>
              <a:gd name="connsiteY3" fmla="*/ 570155 h 4128190"/>
              <a:gd name="connsiteX0" fmla="*/ 0 w 4953938"/>
              <a:gd name="connsiteY0" fmla="*/ 0 h 3558035"/>
              <a:gd name="connsiteX1" fmla="*/ 4953938 w 4953938"/>
              <a:gd name="connsiteY1" fmla="*/ 2981407 h 3558035"/>
              <a:gd name="connsiteX2" fmla="*/ 4942761 w 4953938"/>
              <a:gd name="connsiteY2" fmla="*/ 3558035 h 3558035"/>
              <a:gd name="connsiteX3" fmla="*/ 0 w 4953938"/>
              <a:gd name="connsiteY3" fmla="*/ 0 h 3558035"/>
              <a:gd name="connsiteX0" fmla="*/ 0 w 6354682"/>
              <a:gd name="connsiteY0" fmla="*/ 292170 h 576628"/>
              <a:gd name="connsiteX1" fmla="*/ 6354682 w 6354682"/>
              <a:gd name="connsiteY1" fmla="*/ 0 h 576628"/>
              <a:gd name="connsiteX2" fmla="*/ 6343505 w 6354682"/>
              <a:gd name="connsiteY2" fmla="*/ 576628 h 576628"/>
              <a:gd name="connsiteX3" fmla="*/ 0 w 6354682"/>
              <a:gd name="connsiteY3" fmla="*/ 292170 h 576628"/>
              <a:gd name="connsiteX0" fmla="*/ 0 w 6427045"/>
              <a:gd name="connsiteY0" fmla="*/ 271425 h 576628"/>
              <a:gd name="connsiteX1" fmla="*/ 6427045 w 6427045"/>
              <a:gd name="connsiteY1" fmla="*/ 0 h 576628"/>
              <a:gd name="connsiteX2" fmla="*/ 6415868 w 6427045"/>
              <a:gd name="connsiteY2" fmla="*/ 576628 h 576628"/>
              <a:gd name="connsiteX3" fmla="*/ 0 w 6427045"/>
              <a:gd name="connsiteY3" fmla="*/ 271425 h 576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7045" h="576628">
                <a:moveTo>
                  <a:pt x="0" y="271425"/>
                </a:moveTo>
                <a:lnTo>
                  <a:pt x="6427045" y="0"/>
                </a:lnTo>
                <a:lnTo>
                  <a:pt x="6415868" y="576628"/>
                </a:lnTo>
                <a:lnTo>
                  <a:pt x="0" y="271425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78000">
                <a:srgbClr val="FF8000"/>
              </a:gs>
              <a:gs pos="54000">
                <a:srgbClr val="FFFF00"/>
              </a:gs>
              <a:gs pos="100000">
                <a:srgbClr val="FF0000">
                  <a:alpha val="73000"/>
                  <a:lumMod val="88000"/>
                </a:srgbClr>
              </a:gs>
            </a:gsLst>
            <a:lin ang="0" scaled="0"/>
          </a:gra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E6141E-53A8-BCAC-C1F8-966D5A59C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roach</a:t>
            </a:r>
            <a:endParaRPr lang="en-DE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353174E6-6237-DB4C-68B7-CB6EF2544F8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69630282"/>
              </p:ext>
            </p:extLst>
          </p:nvPr>
        </p:nvGraphicFramePr>
        <p:xfrm>
          <a:off x="368209" y="1935093"/>
          <a:ext cx="11452521" cy="197398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17507">
                  <a:extLst>
                    <a:ext uri="{9D8B030D-6E8A-4147-A177-3AD203B41FA5}">
                      <a16:colId xmlns:a16="http://schemas.microsoft.com/office/drawing/2014/main" val="1890677987"/>
                    </a:ext>
                  </a:extLst>
                </a:gridCol>
                <a:gridCol w="3817507">
                  <a:extLst>
                    <a:ext uri="{9D8B030D-6E8A-4147-A177-3AD203B41FA5}">
                      <a16:colId xmlns:a16="http://schemas.microsoft.com/office/drawing/2014/main" val="3117557128"/>
                    </a:ext>
                  </a:extLst>
                </a:gridCol>
                <a:gridCol w="3817507">
                  <a:extLst>
                    <a:ext uri="{9D8B030D-6E8A-4147-A177-3AD203B41FA5}">
                      <a16:colId xmlns:a16="http://schemas.microsoft.com/office/drawing/2014/main" val="2294410255"/>
                    </a:ext>
                  </a:extLst>
                </a:gridCol>
              </a:tblGrid>
              <a:tr h="432589">
                <a:tc>
                  <a:txBody>
                    <a:bodyPr/>
                    <a:lstStyle/>
                    <a:p>
                      <a:r>
                        <a:rPr lang="en-US" dirty="0"/>
                        <a:t>Descriptive texts of band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ess-kit for band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gional summary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7445469"/>
                  </a:ext>
                </a:extLst>
              </a:tr>
              <a:tr h="1541393">
                <a:tc>
                  <a:txBody>
                    <a:bodyPr/>
                    <a:lstStyle/>
                    <a:p>
                      <a:r>
                        <a:rPr lang="en-US" dirty="0"/>
                        <a:t>Using data from a band we want to generate a description of the band</a:t>
                      </a:r>
                    </a:p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ing data from a band, especially their latest gigs, generate interview texts for the band.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ggregate data about bands in an area and write a summary about it.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2442475"/>
                  </a:ext>
                </a:extLst>
              </a:tr>
            </a:tbl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584B1A-05A8-3444-0D3D-5D5AE679BD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242351-C0E5-5770-85AC-C3AF359B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95669E-8F9E-25CB-B87A-16D953097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802CE08-C1F0-F9B5-5BEA-2D99B38A881B}"/>
              </a:ext>
            </a:extLst>
          </p:cNvPr>
          <p:cNvGrpSpPr/>
          <p:nvPr/>
        </p:nvGrpSpPr>
        <p:grpSpPr>
          <a:xfrm>
            <a:off x="2745332" y="4908283"/>
            <a:ext cx="6698274" cy="720040"/>
            <a:chOff x="5014350" y="868202"/>
            <a:chExt cx="1080120" cy="72004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0D22441-BC78-BFEF-2639-2390994F312A}"/>
                </a:ext>
              </a:extLst>
            </p:cNvPr>
            <p:cNvCxnSpPr/>
            <p:nvPr/>
          </p:nvCxnSpPr>
          <p:spPr bwMode="auto">
            <a:xfrm flipV="1">
              <a:off x="5014350" y="868202"/>
              <a:ext cx="1080120" cy="360040"/>
            </a:xfrm>
            <a:prstGeom prst="line">
              <a:avLst/>
            </a:prstGeom>
            <a:ln w="31750"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8DC692A-42F3-D18D-128F-9D62900CD996}"/>
                </a:ext>
              </a:extLst>
            </p:cNvPr>
            <p:cNvCxnSpPr/>
            <p:nvPr/>
          </p:nvCxnSpPr>
          <p:spPr bwMode="auto">
            <a:xfrm>
              <a:off x="5014350" y="1228242"/>
              <a:ext cx="1080120" cy="360000"/>
            </a:xfrm>
            <a:prstGeom prst="line">
              <a:avLst/>
            </a:prstGeom>
            <a:ln w="31750"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3BC4D322-8DF6-F5B2-60DA-287679A6CB9A}"/>
              </a:ext>
            </a:extLst>
          </p:cNvPr>
          <p:cNvSpPr txBox="1"/>
          <p:nvPr/>
        </p:nvSpPr>
        <p:spPr>
          <a:xfrm>
            <a:off x="1773526" y="5078991"/>
            <a:ext cx="144016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>
                <a:latin typeface="Arial" pitchFamily="34" charset="0"/>
              </a:rPr>
              <a:t>Easi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CB70367-AFBF-FBE6-926E-18A647C2AF1A}"/>
              </a:ext>
            </a:extLst>
          </p:cNvPr>
          <p:cNvSpPr txBox="1"/>
          <p:nvPr/>
        </p:nvSpPr>
        <p:spPr>
          <a:xfrm>
            <a:off x="9552384" y="5078991"/>
            <a:ext cx="144016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>
                <a:latin typeface="Arial" pitchFamily="34" charset="0"/>
              </a:rPr>
              <a:t>Harder</a:t>
            </a:r>
          </a:p>
        </p:txBody>
      </p:sp>
    </p:spTree>
    <p:extLst>
      <p:ext uri="{BB962C8B-B14F-4D97-AF65-F5344CB8AC3E}">
        <p14:creationId xmlns:p14="http://schemas.microsoft.com/office/powerpoint/2010/main" val="1703764126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38629F86-F4AD-E923-8C6D-D026CCC84B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1279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629F86-F4AD-E923-8C6D-D026CCC84B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27576DF-AC41-446B-1679-17D5A5B1BE46}"/>
              </a:ext>
            </a:extLst>
          </p:cNvPr>
          <p:cNvSpPr/>
          <p:nvPr/>
        </p:nvSpPr>
        <p:spPr bwMode="auto">
          <a:xfrm>
            <a:off x="332902" y="1060142"/>
            <a:ext cx="6411169" cy="5760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BC011C-B5B2-7D6E-6BA4-774C57C13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valuation metric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7FA977-8671-3A62-1A67-E68F2D50F5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902" y="1052262"/>
            <a:ext cx="6339161" cy="576065"/>
          </a:xfrm>
        </p:spPr>
        <p:txBody>
          <a:bodyPr anchor="ctr">
            <a:normAutofit/>
          </a:bodyPr>
          <a:lstStyle/>
          <a:p>
            <a:r>
              <a:rPr lang="en-US" sz="2400" dirty="0"/>
              <a:t>How do we check the quality of the models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F0288E-F722-3726-139D-4E9204F43C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D5946A-F798-50D5-39D3-2D7DC674F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725CAE-AF16-4E69-0943-913B0D9C5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A3A31E-C627-93F1-832A-E4E04873D1CF}"/>
              </a:ext>
            </a:extLst>
          </p:cNvPr>
          <p:cNvSpPr txBox="1"/>
          <p:nvPr/>
        </p:nvSpPr>
        <p:spPr>
          <a:xfrm>
            <a:off x="368445" y="2234732"/>
            <a:ext cx="5259041" cy="39703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u="sng" dirty="0">
                <a:latin typeface="Arial" pitchFamily="34" charset="0"/>
              </a:rPr>
              <a:t>Human evaluation</a:t>
            </a:r>
            <a:r>
              <a:rPr lang="en-US" b="1" dirty="0">
                <a:latin typeface="Arial" pitchFamily="34" charset="0"/>
              </a:rPr>
              <a:t>:</a:t>
            </a:r>
          </a:p>
          <a:p>
            <a:endParaRPr lang="en-US" b="1" dirty="0">
              <a:latin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tabLst>
                <a:tab pos="1616075" algn="l"/>
              </a:tabLst>
            </a:pPr>
            <a:r>
              <a:rPr lang="en-US" dirty="0">
                <a:latin typeface="Arial" pitchFamily="34" charset="0"/>
              </a:rPr>
              <a:t>Faithfulness: Is the sentence consistent with 	the input data?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1165225" algn="l"/>
              </a:tabLst>
            </a:pPr>
            <a:r>
              <a:rPr lang="en-US" dirty="0">
                <a:latin typeface="Arial" pitchFamily="34" charset="0"/>
              </a:rPr>
              <a:t>Fluency: Is the sentence fluent and easy to 	understand?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1346200" algn="l"/>
              </a:tabLst>
            </a:pPr>
            <a:r>
              <a:rPr lang="en-US" dirty="0">
                <a:latin typeface="Arial" pitchFamily="34" charset="0"/>
              </a:rPr>
              <a:t>Creativity: Is the sentence 	engaging/interesting?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2060575" algn="l"/>
              </a:tabLst>
            </a:pPr>
            <a:r>
              <a:rPr lang="en-US" dirty="0">
                <a:latin typeface="Arial" pitchFamily="34" charset="0"/>
              </a:rPr>
              <a:t>Turing-style test: Guess if machine generated 	or human written 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1612900" algn="l"/>
              </a:tabLst>
            </a:pPr>
            <a:r>
              <a:rPr lang="en-US" dirty="0">
                <a:latin typeface="Arial" pitchFamily="34" charset="0"/>
              </a:rPr>
              <a:t>Uniqueness: How similar are the samples 	overall?</a:t>
            </a:r>
          </a:p>
          <a:p>
            <a:endParaRPr lang="en-US" dirty="0">
              <a:latin typeface="Arial" pitchFamily="34" charset="0"/>
            </a:endParaRPr>
          </a:p>
          <a:p>
            <a:r>
              <a:rPr lang="en-US" dirty="0">
                <a:latin typeface="Arial" pitchFamily="34" charset="0"/>
                <a:sym typeface="Wingdings" panose="05000000000000000000" pitchFamily="2" charset="2"/>
              </a:rPr>
              <a:t></a:t>
            </a:r>
            <a:r>
              <a:rPr lang="en-US" dirty="0">
                <a:latin typeface="Arial" pitchFamily="34" charset="0"/>
              </a:rPr>
              <a:t> Implement a survey with our industry partner</a:t>
            </a:r>
            <a:endParaRPr lang="en-DE" dirty="0">
              <a:latin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8C23DB-130E-908F-3881-E3A6D02EA1B8}"/>
              </a:ext>
            </a:extLst>
          </p:cNvPr>
          <p:cNvSpPr txBox="1"/>
          <p:nvPr/>
        </p:nvSpPr>
        <p:spPr>
          <a:xfrm>
            <a:off x="6094470" y="2234732"/>
            <a:ext cx="5544616" cy="25853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u="sng" dirty="0">
                <a:latin typeface="Arial" pitchFamily="34" charset="0"/>
              </a:rPr>
              <a:t>Automated evaluation</a:t>
            </a:r>
            <a:r>
              <a:rPr lang="en-US" b="1" dirty="0">
                <a:latin typeface="Arial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tabLst>
                <a:tab pos="1703388" algn="l"/>
              </a:tabLst>
            </a:pPr>
            <a:r>
              <a:rPr lang="en-US" dirty="0">
                <a:latin typeface="Arial" pitchFamily="34" charset="0"/>
              </a:rPr>
              <a:t>Rouge/BLEU: similarity metrics compared to a 	“golden truth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itchFamily="34" charset="0"/>
              </a:rPr>
              <a:t>Learned function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itchFamily="34" charset="0"/>
              </a:rPr>
              <a:t>Turing-style te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itchFamily="34" charset="0"/>
              </a:rPr>
              <a:t>Rank generated senten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itchFamily="34" charset="0"/>
              </a:rPr>
              <a:t>Judge uniqueness of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itchFamily="34" charset="0"/>
              </a:rPr>
              <a:t>And others, specific for each task</a:t>
            </a:r>
            <a:endParaRPr lang="en-DE" dirty="0">
              <a:latin typeface="Arial" pitchFamily="34" charset="0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9867B57-42E7-8AE8-229B-663B963E40F0}"/>
              </a:ext>
            </a:extLst>
          </p:cNvPr>
          <p:cNvGrpSpPr/>
          <p:nvPr/>
        </p:nvGrpSpPr>
        <p:grpSpPr>
          <a:xfrm>
            <a:off x="2674898" y="2132856"/>
            <a:ext cx="559873" cy="576064"/>
            <a:chOff x="572022" y="2923566"/>
            <a:chExt cx="659253" cy="707501"/>
          </a:xfrm>
        </p:grpSpPr>
        <p:sp>
          <p:nvSpPr>
            <p:cNvPr id="11" name="Ellipse 7">
              <a:extLst>
                <a:ext uri="{FF2B5EF4-FFF2-40B4-BE49-F238E27FC236}">
                  <a16:creationId xmlns:a16="http://schemas.microsoft.com/office/drawing/2014/main" id="{10459EB4-2A6C-618D-9F60-91B822206C57}"/>
                </a:ext>
              </a:extLst>
            </p:cNvPr>
            <p:cNvSpPr/>
            <p:nvPr/>
          </p:nvSpPr>
          <p:spPr bwMode="auto">
            <a:xfrm>
              <a:off x="721628" y="2923566"/>
              <a:ext cx="360040" cy="36000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12" name="Kreis 8">
              <a:extLst>
                <a:ext uri="{FF2B5EF4-FFF2-40B4-BE49-F238E27FC236}">
                  <a16:creationId xmlns:a16="http://schemas.microsoft.com/office/drawing/2014/main" id="{7211B3E2-0975-47E3-019E-6E37D2D3C338}"/>
                </a:ext>
              </a:extLst>
            </p:cNvPr>
            <p:cNvSpPr/>
            <p:nvPr/>
          </p:nvSpPr>
          <p:spPr bwMode="auto">
            <a:xfrm>
              <a:off x="572022" y="3283566"/>
              <a:ext cx="659253" cy="347501"/>
            </a:xfrm>
            <a:custGeom>
              <a:avLst/>
              <a:gdLst/>
              <a:ahLst/>
              <a:cxnLst/>
              <a:rect l="l" t="t" r="r" b="b"/>
              <a:pathLst>
                <a:path w="659253" h="347501">
                  <a:moveTo>
                    <a:pt x="194601" y="0"/>
                  </a:moveTo>
                  <a:cubicBezTo>
                    <a:pt x="232765" y="32538"/>
                    <a:pt x="282424" y="51587"/>
                    <a:pt x="336545" y="51587"/>
                  </a:cubicBezTo>
                  <a:cubicBezTo>
                    <a:pt x="388019" y="51587"/>
                    <a:pt x="435456" y="34356"/>
                    <a:pt x="472828" y="4657"/>
                  </a:cubicBezTo>
                  <a:cubicBezTo>
                    <a:pt x="583315" y="65446"/>
                    <a:pt x="659017" y="195929"/>
                    <a:pt x="659253" y="346805"/>
                  </a:cubicBezTo>
                  <a:lnTo>
                    <a:pt x="329603" y="347501"/>
                  </a:lnTo>
                  <a:lnTo>
                    <a:pt x="0" y="340954"/>
                  </a:lnTo>
                  <a:cubicBezTo>
                    <a:pt x="2256" y="188331"/>
                    <a:pt x="81449" y="58036"/>
                    <a:pt x="194601" y="0"/>
                  </a:cubicBez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grpSp>
        <p:nvGrpSpPr>
          <p:cNvPr id="13" name="Gruppieren 18">
            <a:extLst>
              <a:ext uri="{FF2B5EF4-FFF2-40B4-BE49-F238E27FC236}">
                <a16:creationId xmlns:a16="http://schemas.microsoft.com/office/drawing/2014/main" id="{91DF30F0-DDBA-8E1F-8872-B2DCF3C5D364}"/>
              </a:ext>
            </a:extLst>
          </p:cNvPr>
          <p:cNvGrpSpPr/>
          <p:nvPr/>
        </p:nvGrpSpPr>
        <p:grpSpPr>
          <a:xfrm>
            <a:off x="9023144" y="2244252"/>
            <a:ext cx="720080" cy="580779"/>
            <a:chOff x="2915816" y="3352339"/>
            <a:chExt cx="720080" cy="580779"/>
          </a:xfrm>
        </p:grpSpPr>
        <p:sp>
          <p:nvSpPr>
            <p:cNvPr id="14" name="Rechteck 16">
              <a:extLst>
                <a:ext uri="{FF2B5EF4-FFF2-40B4-BE49-F238E27FC236}">
                  <a16:creationId xmlns:a16="http://schemas.microsoft.com/office/drawing/2014/main" id="{3DB31666-27CA-4C2A-5B20-050AF4C53873}"/>
                </a:ext>
              </a:extLst>
            </p:cNvPr>
            <p:cNvSpPr/>
            <p:nvPr/>
          </p:nvSpPr>
          <p:spPr bwMode="auto">
            <a:xfrm>
              <a:off x="3203848" y="3773800"/>
              <a:ext cx="144016" cy="11218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0D5F45B4-644E-6569-5AFF-C806E803B02B}"/>
                </a:ext>
              </a:extLst>
            </p:cNvPr>
            <p:cNvSpPr/>
            <p:nvPr/>
          </p:nvSpPr>
          <p:spPr bwMode="auto">
            <a:xfrm>
              <a:off x="2915816" y="3352339"/>
              <a:ext cx="720080" cy="436701"/>
            </a:xfrm>
            <a:custGeom>
              <a:avLst/>
              <a:gdLst/>
              <a:ahLst/>
              <a:cxnLst/>
              <a:rect l="l" t="t" r="r" b="b"/>
              <a:pathLst>
                <a:path w="720080" h="432048">
                  <a:moveTo>
                    <a:pt x="99843" y="26288"/>
                  </a:moveTo>
                  <a:cubicBezTo>
                    <a:pt x="64831" y="26288"/>
                    <a:pt x="36448" y="54671"/>
                    <a:pt x="36448" y="89683"/>
                  </a:cubicBezTo>
                  <a:lnTo>
                    <a:pt x="36448" y="343253"/>
                  </a:lnTo>
                  <a:cubicBezTo>
                    <a:pt x="36448" y="378265"/>
                    <a:pt x="64831" y="406648"/>
                    <a:pt x="99843" y="406648"/>
                  </a:cubicBezTo>
                  <a:lnTo>
                    <a:pt x="621125" y="406648"/>
                  </a:lnTo>
                  <a:cubicBezTo>
                    <a:pt x="656137" y="406648"/>
                    <a:pt x="684520" y="378265"/>
                    <a:pt x="684520" y="343253"/>
                  </a:cubicBezTo>
                  <a:lnTo>
                    <a:pt x="684520" y="89683"/>
                  </a:lnTo>
                  <a:cubicBezTo>
                    <a:pt x="684520" y="54671"/>
                    <a:pt x="656137" y="26288"/>
                    <a:pt x="621125" y="26288"/>
                  </a:cubicBezTo>
                  <a:close/>
                  <a:moveTo>
                    <a:pt x="0" y="0"/>
                  </a:moveTo>
                  <a:lnTo>
                    <a:pt x="720080" y="0"/>
                  </a:lnTo>
                  <a:lnTo>
                    <a:pt x="720080" y="432048"/>
                  </a:lnTo>
                  <a:lnTo>
                    <a:pt x="0" y="432048"/>
                  </a:ln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hteck 17">
              <a:extLst>
                <a:ext uri="{FF2B5EF4-FFF2-40B4-BE49-F238E27FC236}">
                  <a16:creationId xmlns:a16="http://schemas.microsoft.com/office/drawing/2014/main" id="{3E951A51-7B4F-C10E-9398-EFADB481FF8F}"/>
                </a:ext>
              </a:extLst>
            </p:cNvPr>
            <p:cNvSpPr/>
            <p:nvPr/>
          </p:nvSpPr>
          <p:spPr bwMode="auto">
            <a:xfrm>
              <a:off x="3123094" y="3869330"/>
              <a:ext cx="305525" cy="6378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1475878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7A623C60-8533-63B3-D797-1270886DC3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7632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623C60-8533-63B3-D797-1270886DC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27576DF-AC41-446B-1679-17D5A5B1BE46}"/>
              </a:ext>
            </a:extLst>
          </p:cNvPr>
          <p:cNvSpPr/>
          <p:nvPr/>
        </p:nvSpPr>
        <p:spPr bwMode="auto">
          <a:xfrm>
            <a:off x="332902" y="1060142"/>
            <a:ext cx="6411169" cy="5760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BC011C-B5B2-7D6E-6BA4-774C57C13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valuation metric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7FA977-8671-3A62-1A67-E68F2D50F5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902" y="1052262"/>
            <a:ext cx="6699202" cy="576065"/>
          </a:xfrm>
        </p:spPr>
        <p:txBody>
          <a:bodyPr anchor="ctr">
            <a:normAutofit fontScale="85000" lnSpcReduction="10000"/>
          </a:bodyPr>
          <a:lstStyle/>
          <a:p>
            <a:r>
              <a:rPr lang="en-US" sz="2400" dirty="0"/>
              <a:t>Evaluating the usability of generated band description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F0288E-F722-3726-139D-4E9204F43C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D5946A-F798-50D5-39D3-2D7DC674F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725CAE-AF16-4E69-0943-913B0D9C5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27</a:t>
            </a:fld>
            <a:endParaRPr lang="de-DE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D691794-A0A8-F3B1-861B-4D4E0F73A68C}"/>
              </a:ext>
            </a:extLst>
          </p:cNvPr>
          <p:cNvGrpSpPr/>
          <p:nvPr/>
        </p:nvGrpSpPr>
        <p:grpSpPr>
          <a:xfrm>
            <a:off x="1847528" y="1988840"/>
            <a:ext cx="2954786" cy="1801620"/>
            <a:chOff x="332902" y="1915413"/>
            <a:chExt cx="2954786" cy="1801620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647B8D0F-7EB1-731F-CA37-E0334217EADA}"/>
                </a:ext>
              </a:extLst>
            </p:cNvPr>
            <p:cNvGrpSpPr/>
            <p:nvPr/>
          </p:nvGrpSpPr>
          <p:grpSpPr>
            <a:xfrm>
              <a:off x="332902" y="1915413"/>
              <a:ext cx="2954786" cy="1801620"/>
              <a:chOff x="2915816" y="3352339"/>
              <a:chExt cx="720080" cy="580779"/>
            </a:xfrm>
            <a:solidFill>
              <a:srgbClr val="91AC6B"/>
            </a:solidFill>
          </p:grpSpPr>
          <p:sp>
            <p:nvSpPr>
              <p:cNvPr id="20" name="Rechteck 16">
                <a:extLst>
                  <a:ext uri="{FF2B5EF4-FFF2-40B4-BE49-F238E27FC236}">
                    <a16:creationId xmlns:a16="http://schemas.microsoft.com/office/drawing/2014/main" id="{39AD10C1-39D1-20BF-0611-F2903C55788B}"/>
                  </a:ext>
                </a:extLst>
              </p:cNvPr>
              <p:cNvSpPr/>
              <p:nvPr/>
            </p:nvSpPr>
            <p:spPr bwMode="auto">
              <a:xfrm>
                <a:off x="3203848" y="3773800"/>
                <a:ext cx="144016" cy="112184"/>
              </a:xfrm>
              <a:prstGeom prst="rect">
                <a:avLst/>
              </a:prstGeom>
              <a:grpFill/>
              <a:ln>
                <a:solidFill>
                  <a:srgbClr val="C0C0C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hangingPunct="0"/>
                <a:endParaRPr lang="en-US" dirty="0">
                  <a:solidFill>
                    <a:schemeClr val="accent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Rechteck 14">
                <a:extLst>
                  <a:ext uri="{FF2B5EF4-FFF2-40B4-BE49-F238E27FC236}">
                    <a16:creationId xmlns:a16="http://schemas.microsoft.com/office/drawing/2014/main" id="{34A9F767-0059-119C-2B35-12F7BF27EDFD}"/>
                  </a:ext>
                </a:extLst>
              </p:cNvPr>
              <p:cNvSpPr/>
              <p:nvPr/>
            </p:nvSpPr>
            <p:spPr bwMode="auto">
              <a:xfrm>
                <a:off x="2915816" y="3352339"/>
                <a:ext cx="720080" cy="436701"/>
              </a:xfrm>
              <a:custGeom>
                <a:avLst/>
                <a:gdLst/>
                <a:ahLst/>
                <a:cxnLst/>
                <a:rect l="l" t="t" r="r" b="b"/>
                <a:pathLst>
                  <a:path w="720080" h="432048">
                    <a:moveTo>
                      <a:pt x="99843" y="26288"/>
                    </a:moveTo>
                    <a:cubicBezTo>
                      <a:pt x="64831" y="26288"/>
                      <a:pt x="36448" y="54671"/>
                      <a:pt x="36448" y="89683"/>
                    </a:cubicBezTo>
                    <a:lnTo>
                      <a:pt x="36448" y="343253"/>
                    </a:lnTo>
                    <a:cubicBezTo>
                      <a:pt x="36448" y="378265"/>
                      <a:pt x="64831" y="406648"/>
                      <a:pt x="99843" y="406648"/>
                    </a:cubicBezTo>
                    <a:lnTo>
                      <a:pt x="621125" y="406648"/>
                    </a:lnTo>
                    <a:cubicBezTo>
                      <a:pt x="656137" y="406648"/>
                      <a:pt x="684520" y="378265"/>
                      <a:pt x="684520" y="343253"/>
                    </a:cubicBezTo>
                    <a:lnTo>
                      <a:pt x="684520" y="89683"/>
                    </a:lnTo>
                    <a:cubicBezTo>
                      <a:pt x="684520" y="54671"/>
                      <a:pt x="656137" y="26288"/>
                      <a:pt x="621125" y="26288"/>
                    </a:cubicBezTo>
                    <a:close/>
                    <a:moveTo>
                      <a:pt x="0" y="0"/>
                    </a:moveTo>
                    <a:lnTo>
                      <a:pt x="720080" y="0"/>
                    </a:lnTo>
                    <a:lnTo>
                      <a:pt x="720080" y="432048"/>
                    </a:lnTo>
                    <a:lnTo>
                      <a:pt x="0" y="432048"/>
                    </a:lnTo>
                    <a:close/>
                  </a:path>
                </a:pathLst>
              </a:custGeom>
              <a:grpFill/>
              <a:ln>
                <a:solidFill>
                  <a:srgbClr val="C0C0C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hangingPunct="0"/>
                <a:endParaRPr lang="en-US" dirty="0">
                  <a:solidFill>
                    <a:schemeClr val="accent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Rechteck 17">
                <a:extLst>
                  <a:ext uri="{FF2B5EF4-FFF2-40B4-BE49-F238E27FC236}">
                    <a16:creationId xmlns:a16="http://schemas.microsoft.com/office/drawing/2014/main" id="{765B573B-DF6F-D58D-DE74-2BD57D5E466A}"/>
                  </a:ext>
                </a:extLst>
              </p:cNvPr>
              <p:cNvSpPr/>
              <p:nvPr/>
            </p:nvSpPr>
            <p:spPr bwMode="auto">
              <a:xfrm>
                <a:off x="3123094" y="3869330"/>
                <a:ext cx="305525" cy="63788"/>
              </a:xfrm>
              <a:prstGeom prst="rect">
                <a:avLst/>
              </a:prstGeom>
              <a:grpFill/>
              <a:ln>
                <a:solidFill>
                  <a:srgbClr val="C0C0C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hangingPunct="0"/>
                <a:endParaRPr lang="en-US" dirty="0">
                  <a:solidFill>
                    <a:schemeClr val="accent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5FD34A7-7A0B-DE26-225E-58B70B0BC3A9}"/>
                </a:ext>
              </a:extLst>
            </p:cNvPr>
            <p:cNvSpPr txBox="1"/>
            <p:nvPr/>
          </p:nvSpPr>
          <p:spPr>
            <a:xfrm>
              <a:off x="478146" y="2159884"/>
              <a:ext cx="2664296" cy="9233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Arial" pitchFamily="34" charset="0"/>
                </a:rPr>
                <a:t>Present a generated description to the band as a baseline</a:t>
              </a:r>
            </a:p>
          </p:txBody>
        </p:sp>
      </p:grpSp>
      <p:grpSp>
        <p:nvGrpSpPr>
          <p:cNvPr id="26" name="Gruppieren 61">
            <a:extLst>
              <a:ext uri="{FF2B5EF4-FFF2-40B4-BE49-F238E27FC236}">
                <a16:creationId xmlns:a16="http://schemas.microsoft.com/office/drawing/2014/main" id="{18BA803A-447E-0735-C92D-98D27C473A36}"/>
              </a:ext>
            </a:extLst>
          </p:cNvPr>
          <p:cNvGrpSpPr/>
          <p:nvPr/>
        </p:nvGrpSpPr>
        <p:grpSpPr>
          <a:xfrm>
            <a:off x="9048328" y="1988840"/>
            <a:ext cx="1512168" cy="1123503"/>
            <a:chOff x="6976839" y="1500827"/>
            <a:chExt cx="559874" cy="391616"/>
          </a:xfrm>
          <a:solidFill>
            <a:schemeClr val="accent2">
              <a:lumMod val="40000"/>
              <a:lumOff val="60000"/>
            </a:schemeClr>
          </a:solidFill>
        </p:grpSpPr>
        <p:sp>
          <p:nvSpPr>
            <p:cNvPr id="27" name="Ellipse 42">
              <a:extLst>
                <a:ext uri="{FF2B5EF4-FFF2-40B4-BE49-F238E27FC236}">
                  <a16:creationId xmlns:a16="http://schemas.microsoft.com/office/drawing/2014/main" id="{984BCD38-0C72-39FA-0F1A-2AFAA6670349}"/>
                </a:ext>
              </a:extLst>
            </p:cNvPr>
            <p:cNvSpPr/>
            <p:nvPr/>
          </p:nvSpPr>
          <p:spPr bwMode="auto">
            <a:xfrm>
              <a:off x="6976840" y="1766429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Ellipse 39">
              <a:extLst>
                <a:ext uri="{FF2B5EF4-FFF2-40B4-BE49-F238E27FC236}">
                  <a16:creationId xmlns:a16="http://schemas.microsoft.com/office/drawing/2014/main" id="{E5E51821-CD26-A1A5-2EE4-212840535FC6}"/>
                </a:ext>
              </a:extLst>
            </p:cNvPr>
            <p:cNvSpPr/>
            <p:nvPr/>
          </p:nvSpPr>
          <p:spPr bwMode="auto">
            <a:xfrm>
              <a:off x="6976839" y="1700030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Ellipse 38">
              <a:extLst>
                <a:ext uri="{FF2B5EF4-FFF2-40B4-BE49-F238E27FC236}">
                  <a16:creationId xmlns:a16="http://schemas.microsoft.com/office/drawing/2014/main" id="{B500B822-53C1-C2B4-1EE0-9646BB068F48}"/>
                </a:ext>
              </a:extLst>
            </p:cNvPr>
            <p:cNvSpPr/>
            <p:nvPr/>
          </p:nvSpPr>
          <p:spPr bwMode="auto">
            <a:xfrm>
              <a:off x="6976840" y="1633629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Ellipse 2">
              <a:extLst>
                <a:ext uri="{FF2B5EF4-FFF2-40B4-BE49-F238E27FC236}">
                  <a16:creationId xmlns:a16="http://schemas.microsoft.com/office/drawing/2014/main" id="{C91A2697-E63F-2353-4A09-7A8DFE3D4503}"/>
                </a:ext>
              </a:extLst>
            </p:cNvPr>
            <p:cNvSpPr/>
            <p:nvPr/>
          </p:nvSpPr>
          <p:spPr bwMode="auto">
            <a:xfrm>
              <a:off x="6976840" y="1567228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Ellipse 44">
              <a:extLst>
                <a:ext uri="{FF2B5EF4-FFF2-40B4-BE49-F238E27FC236}">
                  <a16:creationId xmlns:a16="http://schemas.microsoft.com/office/drawing/2014/main" id="{CFA8BDA3-3732-9735-7E1E-73A2775B4C4C}"/>
                </a:ext>
              </a:extLst>
            </p:cNvPr>
            <p:cNvSpPr/>
            <p:nvPr/>
          </p:nvSpPr>
          <p:spPr bwMode="auto">
            <a:xfrm>
              <a:off x="6976840" y="1500827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84A0CC83-6C4C-8AFF-9132-679CC01D6B08}"/>
              </a:ext>
            </a:extLst>
          </p:cNvPr>
          <p:cNvSpPr/>
          <p:nvPr/>
        </p:nvSpPr>
        <p:spPr bwMode="auto">
          <a:xfrm rot="7486425">
            <a:off x="7016271" y="4016132"/>
            <a:ext cx="1721776" cy="877909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02351DC4-26E9-7E79-CAEE-DBFC4AD5DAE2}"/>
              </a:ext>
            </a:extLst>
          </p:cNvPr>
          <p:cNvSpPr/>
          <p:nvPr/>
        </p:nvSpPr>
        <p:spPr bwMode="auto">
          <a:xfrm rot="3409410">
            <a:off x="4129391" y="4036286"/>
            <a:ext cx="1721776" cy="877909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A66B21-9A27-EB25-9375-C4DC813D4060}"/>
              </a:ext>
            </a:extLst>
          </p:cNvPr>
          <p:cNvSpPr txBox="1"/>
          <p:nvPr/>
        </p:nvSpPr>
        <p:spPr>
          <a:xfrm>
            <a:off x="8760296" y="3156641"/>
            <a:ext cx="2049009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itchFamily="34" charset="0"/>
              </a:rPr>
              <a:t>Band description chosen/modified by the user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F3272FA9-122E-3795-4FF4-85D0C1C31336}"/>
              </a:ext>
            </a:extLst>
          </p:cNvPr>
          <p:cNvSpPr/>
          <p:nvPr/>
        </p:nvSpPr>
        <p:spPr bwMode="auto">
          <a:xfrm>
            <a:off x="4973881" y="5376427"/>
            <a:ext cx="2880320" cy="86088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 err="1">
                <a:solidFill>
                  <a:schemeClr val="tx1"/>
                </a:solidFill>
                <a:cs typeface="Arial" pitchFamily="34" charset="0"/>
              </a:rPr>
              <a:t>Analyze</a:t>
            </a:r>
            <a:r>
              <a:rPr lang="en-GB" dirty="0">
                <a:solidFill>
                  <a:schemeClr val="tx1"/>
                </a:solidFill>
                <a:cs typeface="Arial" pitchFamily="34" charset="0"/>
              </a:rPr>
              <a:t>/compare </a:t>
            </a:r>
          </a:p>
        </p:txBody>
      </p:sp>
    </p:spTree>
    <p:extLst>
      <p:ext uri="{BB962C8B-B14F-4D97-AF65-F5344CB8AC3E}">
        <p14:creationId xmlns:p14="http://schemas.microsoft.com/office/powerpoint/2010/main" val="2063095769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think-cell data - do not delete" hidden="1">
            <a:extLst>
              <a:ext uri="{FF2B5EF4-FFF2-40B4-BE49-F238E27FC236}">
                <a16:creationId xmlns:a16="http://schemas.microsoft.com/office/drawing/2014/main" id="{094D538D-E6F7-EDDD-12FA-313A6DF8ED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618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4D538D-E6F7-EDDD-12FA-313A6DF8E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A92DB8-5530-5193-7884-E06332096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903" y="45645"/>
            <a:ext cx="10586099" cy="720725"/>
          </a:xfrm>
        </p:spPr>
        <p:txBody>
          <a:bodyPr vert="horz"/>
          <a:lstStyle/>
          <a:p>
            <a:r>
              <a:rPr lang="en-US" dirty="0"/>
              <a:t>Proof of concept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CC1A4-CB7A-A7C2-CDB3-ED13DC96E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EE99B9-2CE2-2386-10FE-E5AFAA538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84BC75-6B1E-5C81-7434-53FAB05F7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  <p:grpSp>
        <p:nvGrpSpPr>
          <p:cNvPr id="13" name="Gruppieren 61">
            <a:extLst>
              <a:ext uri="{FF2B5EF4-FFF2-40B4-BE49-F238E27FC236}">
                <a16:creationId xmlns:a16="http://schemas.microsoft.com/office/drawing/2014/main" id="{B9FC4FEA-EE4B-AFF6-7A13-B25F016CDE73}"/>
              </a:ext>
            </a:extLst>
          </p:cNvPr>
          <p:cNvGrpSpPr/>
          <p:nvPr/>
        </p:nvGrpSpPr>
        <p:grpSpPr>
          <a:xfrm>
            <a:off x="623392" y="1848907"/>
            <a:ext cx="1012116" cy="766898"/>
            <a:chOff x="6976839" y="1500827"/>
            <a:chExt cx="559874" cy="391616"/>
          </a:xfrm>
          <a:solidFill>
            <a:srgbClr val="92D050"/>
          </a:solidFill>
        </p:grpSpPr>
        <p:sp>
          <p:nvSpPr>
            <p:cNvPr id="14" name="Ellipse 42">
              <a:extLst>
                <a:ext uri="{FF2B5EF4-FFF2-40B4-BE49-F238E27FC236}">
                  <a16:creationId xmlns:a16="http://schemas.microsoft.com/office/drawing/2014/main" id="{C5CE1C44-924F-75C3-D1F7-751402804A5C}"/>
                </a:ext>
              </a:extLst>
            </p:cNvPr>
            <p:cNvSpPr/>
            <p:nvPr/>
          </p:nvSpPr>
          <p:spPr bwMode="auto">
            <a:xfrm>
              <a:off x="6976840" y="1766429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Ellipse 39">
              <a:extLst>
                <a:ext uri="{FF2B5EF4-FFF2-40B4-BE49-F238E27FC236}">
                  <a16:creationId xmlns:a16="http://schemas.microsoft.com/office/drawing/2014/main" id="{41D93199-F9DA-5208-0C91-E4360BEB7C6D}"/>
                </a:ext>
              </a:extLst>
            </p:cNvPr>
            <p:cNvSpPr/>
            <p:nvPr/>
          </p:nvSpPr>
          <p:spPr bwMode="auto">
            <a:xfrm>
              <a:off x="6976839" y="1700030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Ellipse 38">
              <a:extLst>
                <a:ext uri="{FF2B5EF4-FFF2-40B4-BE49-F238E27FC236}">
                  <a16:creationId xmlns:a16="http://schemas.microsoft.com/office/drawing/2014/main" id="{40A9E457-84FC-BC39-A9FA-4C500CF6A0BA}"/>
                </a:ext>
              </a:extLst>
            </p:cNvPr>
            <p:cNvSpPr/>
            <p:nvPr/>
          </p:nvSpPr>
          <p:spPr bwMode="auto">
            <a:xfrm>
              <a:off x="6976840" y="1633629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Ellipse 2">
              <a:extLst>
                <a:ext uri="{FF2B5EF4-FFF2-40B4-BE49-F238E27FC236}">
                  <a16:creationId xmlns:a16="http://schemas.microsoft.com/office/drawing/2014/main" id="{1D5D19D5-B311-80C7-DB9E-FD4205DC257A}"/>
                </a:ext>
              </a:extLst>
            </p:cNvPr>
            <p:cNvSpPr/>
            <p:nvPr/>
          </p:nvSpPr>
          <p:spPr bwMode="auto">
            <a:xfrm>
              <a:off x="6976840" y="1567228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Ellipse 44">
              <a:extLst>
                <a:ext uri="{FF2B5EF4-FFF2-40B4-BE49-F238E27FC236}">
                  <a16:creationId xmlns:a16="http://schemas.microsoft.com/office/drawing/2014/main" id="{C88CD253-C4EE-6B82-BE90-241650241B55}"/>
                </a:ext>
              </a:extLst>
            </p:cNvPr>
            <p:cNvSpPr/>
            <p:nvPr/>
          </p:nvSpPr>
          <p:spPr bwMode="auto">
            <a:xfrm>
              <a:off x="6976840" y="1500827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A0E59ADA-822B-B4ED-44DE-97DDC224A772}"/>
              </a:ext>
            </a:extLst>
          </p:cNvPr>
          <p:cNvSpPr txBox="1"/>
          <p:nvPr/>
        </p:nvSpPr>
        <p:spPr>
          <a:xfrm>
            <a:off x="517381" y="2576174"/>
            <a:ext cx="122413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rial" pitchFamily="34" charset="0"/>
              </a:rPr>
              <a:t>Dataset</a:t>
            </a:r>
            <a:endParaRPr lang="en-DE" dirty="0">
              <a:latin typeface="Arial" pitchFamily="34" charset="0"/>
            </a:endParaRPr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2C546F5C-434E-1254-D118-4D396BCD6813}"/>
              </a:ext>
            </a:extLst>
          </p:cNvPr>
          <p:cNvSpPr/>
          <p:nvPr/>
        </p:nvSpPr>
        <p:spPr bwMode="auto">
          <a:xfrm rot="15920739">
            <a:off x="1466691" y="1280669"/>
            <a:ext cx="743503" cy="788191"/>
          </a:xfrm>
          <a:prstGeom prst="arc">
            <a:avLst>
              <a:gd name="adj1" fmla="val 16200000"/>
              <a:gd name="adj2" fmla="val 11112057"/>
            </a:avLst>
          </a:prstGeom>
          <a:ln w="31750">
            <a:solidFill>
              <a:schemeClr val="bg1">
                <a:lumMod val="85000"/>
              </a:schemeClr>
            </a:solidFill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504664-D7E0-A01B-309E-185997AAC024}"/>
              </a:ext>
            </a:extLst>
          </p:cNvPr>
          <p:cNvSpPr txBox="1"/>
          <p:nvPr/>
        </p:nvSpPr>
        <p:spPr>
          <a:xfrm>
            <a:off x="2279577" y="1168785"/>
            <a:ext cx="1656184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</a:rPr>
              <a:t>Data augmentation</a:t>
            </a:r>
            <a:endParaRPr lang="en-DE" dirty="0">
              <a:solidFill>
                <a:schemeClr val="bg1">
                  <a:lumMod val="75000"/>
                </a:schemeClr>
              </a:solidFill>
              <a:latin typeface="Arial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169B8D2-F061-CB56-F079-043937FE57B6}"/>
              </a:ext>
            </a:extLst>
          </p:cNvPr>
          <p:cNvSpPr txBox="1"/>
          <p:nvPr/>
        </p:nvSpPr>
        <p:spPr>
          <a:xfrm>
            <a:off x="508398" y="5300862"/>
            <a:ext cx="1224136" cy="646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</a:rPr>
              <a:t>Additional Datasets</a:t>
            </a:r>
            <a:endParaRPr lang="en-DE" dirty="0">
              <a:solidFill>
                <a:schemeClr val="bg1">
                  <a:lumMod val="75000"/>
                </a:schemeClr>
              </a:solidFill>
              <a:latin typeface="Arial" pitchFamily="34" charset="0"/>
            </a:endParaRPr>
          </a:p>
        </p:txBody>
      </p:sp>
      <p:sp>
        <p:nvSpPr>
          <p:cNvPr id="44" name="Flowchart: Preparation 43">
            <a:extLst>
              <a:ext uri="{FF2B5EF4-FFF2-40B4-BE49-F238E27FC236}">
                <a16:creationId xmlns:a16="http://schemas.microsoft.com/office/drawing/2014/main" id="{869805EB-FD1D-2A26-F45A-2019B89A416C}"/>
              </a:ext>
            </a:extLst>
          </p:cNvPr>
          <p:cNvSpPr/>
          <p:nvPr/>
        </p:nvSpPr>
        <p:spPr bwMode="auto">
          <a:xfrm>
            <a:off x="2243950" y="3146316"/>
            <a:ext cx="1512168" cy="646331"/>
          </a:xfrm>
          <a:prstGeom prst="flowChartPreparation">
            <a:avLst/>
          </a:prstGeom>
          <a:solidFill>
            <a:srgbClr val="92D050"/>
          </a:solidFill>
          <a:ln w="508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RDF</a:t>
            </a: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A8113CA8-5FAE-A400-D9AB-50926C470BD8}"/>
              </a:ext>
            </a:extLst>
          </p:cNvPr>
          <p:cNvCxnSpPr>
            <a:cxnSpLocks/>
          </p:cNvCxnSpPr>
          <p:nvPr/>
        </p:nvCxnSpPr>
        <p:spPr bwMode="auto">
          <a:xfrm>
            <a:off x="1776149" y="2583159"/>
            <a:ext cx="581628" cy="602101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948DC98-514C-C80C-354C-0B4A5D7D557A}"/>
              </a:ext>
            </a:extLst>
          </p:cNvPr>
          <p:cNvCxnSpPr>
            <a:cxnSpLocks/>
          </p:cNvCxnSpPr>
          <p:nvPr/>
        </p:nvCxnSpPr>
        <p:spPr bwMode="auto">
          <a:xfrm flipV="1">
            <a:off x="1813528" y="3739246"/>
            <a:ext cx="516638" cy="892181"/>
          </a:xfrm>
          <a:prstGeom prst="straightConnector1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1CCD89DC-B87C-DC0E-C44C-92F10355C210}"/>
              </a:ext>
            </a:extLst>
          </p:cNvPr>
          <p:cNvSpPr txBox="1"/>
          <p:nvPr/>
        </p:nvSpPr>
        <p:spPr>
          <a:xfrm>
            <a:off x="2235152" y="3789040"/>
            <a:ext cx="1584176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rial" pitchFamily="34" charset="0"/>
              </a:rPr>
              <a:t>Prepare and linearize</a:t>
            </a:r>
            <a:endParaRPr lang="en-DE" dirty="0">
              <a:latin typeface="Arial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3D0FF543-B490-C729-4DDF-691143FA2A15}"/>
              </a:ext>
            </a:extLst>
          </p:cNvPr>
          <p:cNvSpPr/>
          <p:nvPr/>
        </p:nvSpPr>
        <p:spPr bwMode="auto">
          <a:xfrm>
            <a:off x="4790871" y="1214318"/>
            <a:ext cx="4700934" cy="4429363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BC0D2E1-994C-A2B3-0FAD-7899BAB8FDFB}"/>
              </a:ext>
            </a:extLst>
          </p:cNvPr>
          <p:cNvSpPr txBox="1"/>
          <p:nvPr/>
        </p:nvSpPr>
        <p:spPr>
          <a:xfrm>
            <a:off x="5303912" y="1431230"/>
            <a:ext cx="2304256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b="1" dirty="0">
                <a:latin typeface="Arial" pitchFamily="34" charset="0"/>
              </a:rPr>
              <a:t>Models</a:t>
            </a:r>
          </a:p>
        </p:txBody>
      </p:sp>
      <p:sp>
        <p:nvSpPr>
          <p:cNvPr id="57" name="Flowchart: Decision 56">
            <a:extLst>
              <a:ext uri="{FF2B5EF4-FFF2-40B4-BE49-F238E27FC236}">
                <a16:creationId xmlns:a16="http://schemas.microsoft.com/office/drawing/2014/main" id="{1D7AC13D-055F-0C02-971C-793BCA5CE832}"/>
              </a:ext>
            </a:extLst>
          </p:cNvPr>
          <p:cNvSpPr/>
          <p:nvPr/>
        </p:nvSpPr>
        <p:spPr bwMode="auto">
          <a:xfrm>
            <a:off x="4964287" y="3404675"/>
            <a:ext cx="992677" cy="648072"/>
          </a:xfrm>
          <a:prstGeom prst="flowChartDecision">
            <a:avLst/>
          </a:prstGeom>
          <a:solidFill>
            <a:srgbClr val="92D050"/>
          </a:solidFill>
          <a:ln w="508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8" name="Flowchart: Process 57">
            <a:extLst>
              <a:ext uri="{FF2B5EF4-FFF2-40B4-BE49-F238E27FC236}">
                <a16:creationId xmlns:a16="http://schemas.microsoft.com/office/drawing/2014/main" id="{A703550A-B774-C89B-BFA5-60DC52EA5C5C}"/>
              </a:ext>
            </a:extLst>
          </p:cNvPr>
          <p:cNvSpPr/>
          <p:nvPr/>
        </p:nvSpPr>
        <p:spPr bwMode="auto">
          <a:xfrm>
            <a:off x="6692479" y="2055770"/>
            <a:ext cx="1440160" cy="599948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 w="5080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cs typeface="Arial" pitchFamily="34" charset="0"/>
              </a:rPr>
              <a:t>Template-based</a:t>
            </a:r>
            <a:endParaRPr lang="en-DE" dirty="0">
              <a:solidFill>
                <a:schemeClr val="bg1">
                  <a:lumMod val="75000"/>
                </a:schemeClr>
              </a:solidFill>
              <a:cs typeface="Arial" pitchFamily="34" charset="0"/>
            </a:endParaRPr>
          </a:p>
        </p:txBody>
      </p:sp>
      <p:sp>
        <p:nvSpPr>
          <p:cNvPr id="59" name="Flowchart: Process 58">
            <a:extLst>
              <a:ext uri="{FF2B5EF4-FFF2-40B4-BE49-F238E27FC236}">
                <a16:creationId xmlns:a16="http://schemas.microsoft.com/office/drawing/2014/main" id="{F595714B-572B-C0A9-64EB-3C7622CD9C99}"/>
              </a:ext>
            </a:extLst>
          </p:cNvPr>
          <p:cNvSpPr/>
          <p:nvPr/>
        </p:nvSpPr>
        <p:spPr bwMode="auto">
          <a:xfrm>
            <a:off x="6692479" y="2869534"/>
            <a:ext cx="1440160" cy="599948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 w="5080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cs typeface="Arial" pitchFamily="34" charset="0"/>
              </a:rPr>
              <a:t>Plan-then-generate</a:t>
            </a:r>
            <a:endParaRPr lang="en-DE" dirty="0">
              <a:solidFill>
                <a:schemeClr val="bg1">
                  <a:lumMod val="75000"/>
                </a:schemeClr>
              </a:solidFill>
              <a:cs typeface="Arial" pitchFamily="34" charset="0"/>
            </a:endParaRPr>
          </a:p>
        </p:txBody>
      </p:sp>
      <p:sp>
        <p:nvSpPr>
          <p:cNvPr id="60" name="Flowchart: Process 59">
            <a:extLst>
              <a:ext uri="{FF2B5EF4-FFF2-40B4-BE49-F238E27FC236}">
                <a16:creationId xmlns:a16="http://schemas.microsoft.com/office/drawing/2014/main" id="{299E4834-BA6F-8F50-C3B8-237D8C76D643}"/>
              </a:ext>
            </a:extLst>
          </p:cNvPr>
          <p:cNvSpPr/>
          <p:nvPr/>
        </p:nvSpPr>
        <p:spPr bwMode="auto">
          <a:xfrm>
            <a:off x="6695622" y="3683298"/>
            <a:ext cx="1440160" cy="599948"/>
          </a:xfrm>
          <a:prstGeom prst="flowChartProcess">
            <a:avLst/>
          </a:prstGeom>
          <a:solidFill>
            <a:srgbClr val="92D050"/>
          </a:solidFill>
          <a:ln w="508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End-to-end</a:t>
            </a: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06EE4C0-B76E-7042-F39E-47B462BB9A30}"/>
              </a:ext>
            </a:extLst>
          </p:cNvPr>
          <p:cNvSpPr txBox="1"/>
          <p:nvPr/>
        </p:nvSpPr>
        <p:spPr>
          <a:xfrm>
            <a:off x="6886594" y="4596356"/>
            <a:ext cx="1008112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Arial" pitchFamily="34" charset="0"/>
              </a:rPr>
              <a:t>. . .</a:t>
            </a:r>
            <a:endParaRPr lang="en-DE" sz="2400" b="1" dirty="0">
              <a:latin typeface="Arial" pitchFamily="34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AA649928-50FB-FD35-8D28-AE1ECEE1A9C9}"/>
              </a:ext>
            </a:extLst>
          </p:cNvPr>
          <p:cNvCxnSpPr>
            <a:cxnSpLocks/>
          </p:cNvCxnSpPr>
          <p:nvPr/>
        </p:nvCxnSpPr>
        <p:spPr bwMode="auto">
          <a:xfrm>
            <a:off x="3890326" y="3483162"/>
            <a:ext cx="900545" cy="245549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11CF4B2D-6D85-D8A5-8B85-1A2D83717CDD}"/>
              </a:ext>
            </a:extLst>
          </p:cNvPr>
          <p:cNvCxnSpPr>
            <a:cxnSpLocks/>
          </p:cNvCxnSpPr>
          <p:nvPr/>
        </p:nvCxnSpPr>
        <p:spPr bwMode="auto">
          <a:xfrm flipV="1">
            <a:off x="6038692" y="3284984"/>
            <a:ext cx="509771" cy="396357"/>
          </a:xfrm>
          <a:prstGeom prst="straightConnector1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D805D66-B37C-DB6F-AF4D-3D2E007929DD}"/>
              </a:ext>
            </a:extLst>
          </p:cNvPr>
          <p:cNvCxnSpPr>
            <a:cxnSpLocks/>
          </p:cNvCxnSpPr>
          <p:nvPr/>
        </p:nvCxnSpPr>
        <p:spPr bwMode="auto">
          <a:xfrm flipV="1">
            <a:off x="5956964" y="2431624"/>
            <a:ext cx="663507" cy="1141392"/>
          </a:xfrm>
          <a:prstGeom prst="straightConnector1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708D98B0-9C8F-556C-473A-30BEC723CFF9}"/>
              </a:ext>
            </a:extLst>
          </p:cNvPr>
          <p:cNvCxnSpPr>
            <a:cxnSpLocks/>
          </p:cNvCxnSpPr>
          <p:nvPr/>
        </p:nvCxnSpPr>
        <p:spPr bwMode="auto">
          <a:xfrm>
            <a:off x="6038692" y="3789040"/>
            <a:ext cx="509771" cy="72008"/>
          </a:xfrm>
          <a:prstGeom prst="straightConnector1">
            <a:avLst/>
          </a:prstGeom>
          <a:ln w="28575">
            <a:solidFill>
              <a:schemeClr val="dk1">
                <a:shade val="95000"/>
                <a:satMod val="150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706F0223-96EB-88D1-7C50-45BCF3C4E984}"/>
              </a:ext>
            </a:extLst>
          </p:cNvPr>
          <p:cNvCxnSpPr>
            <a:cxnSpLocks/>
          </p:cNvCxnSpPr>
          <p:nvPr/>
        </p:nvCxnSpPr>
        <p:spPr bwMode="auto">
          <a:xfrm>
            <a:off x="5956964" y="3861048"/>
            <a:ext cx="591499" cy="565328"/>
          </a:xfrm>
          <a:prstGeom prst="straightConnector1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5" name="Flowchart: Alternate Process 74">
            <a:extLst>
              <a:ext uri="{FF2B5EF4-FFF2-40B4-BE49-F238E27FC236}">
                <a16:creationId xmlns:a16="http://schemas.microsoft.com/office/drawing/2014/main" id="{DE96ECB6-7677-3DBD-DDAD-BF71E259136D}"/>
              </a:ext>
            </a:extLst>
          </p:cNvPr>
          <p:cNvSpPr/>
          <p:nvPr/>
        </p:nvSpPr>
        <p:spPr bwMode="auto">
          <a:xfrm>
            <a:off x="9816191" y="2827784"/>
            <a:ext cx="1584176" cy="703659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317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cs typeface="Arial" pitchFamily="34" charset="0"/>
              </a:rPr>
              <a:t>Output</a:t>
            </a:r>
            <a:endParaRPr lang="en-DE" dirty="0">
              <a:solidFill>
                <a:schemeClr val="bg1">
                  <a:lumMod val="75000"/>
                </a:schemeClr>
              </a:solidFill>
              <a:cs typeface="Arial" pitchFamily="34" charset="0"/>
            </a:endParaRPr>
          </a:p>
        </p:txBody>
      </p:sp>
      <p:sp>
        <p:nvSpPr>
          <p:cNvPr id="83" name="Flowchart: Alternate Process 82">
            <a:extLst>
              <a:ext uri="{FF2B5EF4-FFF2-40B4-BE49-F238E27FC236}">
                <a16:creationId xmlns:a16="http://schemas.microsoft.com/office/drawing/2014/main" id="{A2A438CD-B0A2-E39D-5D75-366C9A7A4D8F}"/>
              </a:ext>
            </a:extLst>
          </p:cNvPr>
          <p:cNvSpPr/>
          <p:nvPr/>
        </p:nvSpPr>
        <p:spPr bwMode="auto">
          <a:xfrm>
            <a:off x="9968591" y="2980184"/>
            <a:ext cx="1584176" cy="703659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317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cs typeface="Arial" pitchFamily="34" charset="0"/>
              </a:rPr>
              <a:t>Output</a:t>
            </a:r>
            <a:endParaRPr lang="en-DE" dirty="0">
              <a:solidFill>
                <a:schemeClr val="bg1">
                  <a:lumMod val="75000"/>
                </a:schemeClr>
              </a:solidFill>
              <a:cs typeface="Arial" pitchFamily="34" charset="0"/>
            </a:endParaRPr>
          </a:p>
        </p:txBody>
      </p:sp>
      <p:sp>
        <p:nvSpPr>
          <p:cNvPr id="84" name="Flowchart: Alternate Process 83">
            <a:extLst>
              <a:ext uri="{FF2B5EF4-FFF2-40B4-BE49-F238E27FC236}">
                <a16:creationId xmlns:a16="http://schemas.microsoft.com/office/drawing/2014/main" id="{354ECDC4-7084-677A-182E-77DE75420E9F}"/>
              </a:ext>
            </a:extLst>
          </p:cNvPr>
          <p:cNvSpPr/>
          <p:nvPr/>
        </p:nvSpPr>
        <p:spPr bwMode="auto">
          <a:xfrm>
            <a:off x="10120991" y="3132584"/>
            <a:ext cx="1584176" cy="703659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317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cs typeface="Arial" pitchFamily="34" charset="0"/>
              </a:rPr>
              <a:t>Output</a:t>
            </a:r>
            <a:endParaRPr lang="en-DE" dirty="0">
              <a:solidFill>
                <a:schemeClr val="bg1">
                  <a:lumMod val="75000"/>
                </a:schemeClr>
              </a:solidFill>
              <a:cs typeface="Arial" pitchFamily="34" charset="0"/>
            </a:endParaRPr>
          </a:p>
        </p:txBody>
      </p:sp>
      <p:sp>
        <p:nvSpPr>
          <p:cNvPr id="85" name="Flowchart: Alternate Process 84">
            <a:extLst>
              <a:ext uri="{FF2B5EF4-FFF2-40B4-BE49-F238E27FC236}">
                <a16:creationId xmlns:a16="http://schemas.microsoft.com/office/drawing/2014/main" id="{3A69438F-4A2B-C6F3-0D77-A0B4B6E75620}"/>
              </a:ext>
            </a:extLst>
          </p:cNvPr>
          <p:cNvSpPr/>
          <p:nvPr/>
        </p:nvSpPr>
        <p:spPr bwMode="auto">
          <a:xfrm>
            <a:off x="10273391" y="3284984"/>
            <a:ext cx="1584176" cy="703659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317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cs typeface="Arial" pitchFamily="34" charset="0"/>
              </a:rPr>
              <a:t>Output Text</a:t>
            </a:r>
            <a:endParaRPr lang="en-DE" dirty="0">
              <a:solidFill>
                <a:schemeClr val="bg1">
                  <a:lumMod val="75000"/>
                </a:schemeClr>
              </a:solidFill>
              <a:cs typeface="Arial" pitchFamily="34" charset="0"/>
            </a:endParaRP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BD15191A-CB01-1932-2357-67CBE94D1B77}"/>
              </a:ext>
            </a:extLst>
          </p:cNvPr>
          <p:cNvCxnSpPr>
            <a:cxnSpLocks/>
          </p:cNvCxnSpPr>
          <p:nvPr/>
        </p:nvCxnSpPr>
        <p:spPr bwMode="auto">
          <a:xfrm>
            <a:off x="8261037" y="2485776"/>
            <a:ext cx="1426756" cy="583184"/>
          </a:xfrm>
          <a:prstGeom prst="straightConnector1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94E4AD31-8542-A6F6-1748-C010727F0F18}"/>
              </a:ext>
            </a:extLst>
          </p:cNvPr>
          <p:cNvCxnSpPr>
            <a:cxnSpLocks/>
          </p:cNvCxnSpPr>
          <p:nvPr/>
        </p:nvCxnSpPr>
        <p:spPr bwMode="auto">
          <a:xfrm>
            <a:off x="8261037" y="3222063"/>
            <a:ext cx="1426756" cy="62921"/>
          </a:xfrm>
          <a:prstGeom prst="straightConnector1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7AAA396-9842-1431-2E47-6A8B5175D784}"/>
              </a:ext>
            </a:extLst>
          </p:cNvPr>
          <p:cNvCxnSpPr>
            <a:cxnSpLocks/>
          </p:cNvCxnSpPr>
          <p:nvPr/>
        </p:nvCxnSpPr>
        <p:spPr bwMode="auto">
          <a:xfrm flipV="1">
            <a:off x="8285039" y="3500743"/>
            <a:ext cx="1402754" cy="482529"/>
          </a:xfrm>
          <a:prstGeom prst="straightConnector1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6D8DD978-59A9-777B-F9E1-A173AE55A0FA}"/>
              </a:ext>
            </a:extLst>
          </p:cNvPr>
          <p:cNvCxnSpPr>
            <a:cxnSpLocks/>
          </p:cNvCxnSpPr>
          <p:nvPr/>
        </p:nvCxnSpPr>
        <p:spPr bwMode="auto">
          <a:xfrm flipV="1">
            <a:off x="8282941" y="3728711"/>
            <a:ext cx="1498647" cy="709225"/>
          </a:xfrm>
          <a:prstGeom prst="straightConnector1">
            <a:avLst/>
          </a:prstGeom>
          <a:ln w="28575">
            <a:solidFill>
              <a:schemeClr val="bg1">
                <a:lumMod val="85000"/>
              </a:schemeClr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56F72ED1-3030-A420-3564-97BA29FB7978}"/>
              </a:ext>
            </a:extLst>
          </p:cNvPr>
          <p:cNvSpPr txBox="1"/>
          <p:nvPr/>
        </p:nvSpPr>
        <p:spPr>
          <a:xfrm>
            <a:off x="9968591" y="4139267"/>
            <a:ext cx="1888976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b="1" u="sng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</a:rPr>
              <a:t>Evaluate</a:t>
            </a:r>
            <a:endParaRPr lang="en-DE" sz="2000" b="1" u="sng" dirty="0">
              <a:solidFill>
                <a:schemeClr val="bg1">
                  <a:lumMod val="75000"/>
                </a:schemeClr>
              </a:solidFill>
              <a:latin typeface="Arial" pitchFamily="34" charset="0"/>
            </a:endParaRPr>
          </a:p>
        </p:txBody>
      </p:sp>
      <p:sp>
        <p:nvSpPr>
          <p:cNvPr id="101" name="Arc 100">
            <a:extLst>
              <a:ext uri="{FF2B5EF4-FFF2-40B4-BE49-F238E27FC236}">
                <a16:creationId xmlns:a16="http://schemas.microsoft.com/office/drawing/2014/main" id="{BD955F50-9B68-3685-EC33-75771B01BE01}"/>
              </a:ext>
            </a:extLst>
          </p:cNvPr>
          <p:cNvSpPr/>
          <p:nvPr/>
        </p:nvSpPr>
        <p:spPr bwMode="auto">
          <a:xfrm rot="2538500">
            <a:off x="9079083" y="4041486"/>
            <a:ext cx="1642423" cy="1923731"/>
          </a:xfrm>
          <a:prstGeom prst="arc">
            <a:avLst>
              <a:gd name="adj1" fmla="val 18823296"/>
              <a:gd name="adj2" fmla="val 4690067"/>
            </a:avLst>
          </a:prstGeom>
          <a:ln w="31750">
            <a:solidFill>
              <a:schemeClr val="bg1">
                <a:lumMod val="85000"/>
              </a:schemeClr>
            </a:solidFill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1BE79E4-88F6-5FCE-36D2-FBF3E5DAFEE1}"/>
              </a:ext>
            </a:extLst>
          </p:cNvPr>
          <p:cNvSpPr txBox="1"/>
          <p:nvPr/>
        </p:nvSpPr>
        <p:spPr>
          <a:xfrm rot="19140272">
            <a:off x="9738184" y="5617223"/>
            <a:ext cx="1584176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</a:rPr>
              <a:t>Iterate</a:t>
            </a:r>
            <a:endParaRPr lang="en-DE" sz="2000" dirty="0">
              <a:solidFill>
                <a:schemeClr val="bg1">
                  <a:lumMod val="75000"/>
                </a:schemeClr>
              </a:solidFill>
              <a:latin typeface="Arial" pitchFamily="34" charset="0"/>
            </a:endParaRPr>
          </a:p>
        </p:txBody>
      </p:sp>
      <p:grpSp>
        <p:nvGrpSpPr>
          <p:cNvPr id="36" name="Gruppieren 61">
            <a:extLst>
              <a:ext uri="{FF2B5EF4-FFF2-40B4-BE49-F238E27FC236}">
                <a16:creationId xmlns:a16="http://schemas.microsoft.com/office/drawing/2014/main" id="{0C144464-3FE9-CDF0-9764-EA311B59BF80}"/>
              </a:ext>
            </a:extLst>
          </p:cNvPr>
          <p:cNvGrpSpPr/>
          <p:nvPr/>
        </p:nvGrpSpPr>
        <p:grpSpPr>
          <a:xfrm>
            <a:off x="614409" y="4533964"/>
            <a:ext cx="1012116" cy="766898"/>
            <a:chOff x="6976839" y="1500827"/>
            <a:chExt cx="559874" cy="391616"/>
          </a:xfrm>
          <a:solidFill>
            <a:schemeClr val="bg1"/>
          </a:solidFill>
        </p:grpSpPr>
        <p:sp>
          <p:nvSpPr>
            <p:cNvPr id="37" name="Ellipse 42">
              <a:extLst>
                <a:ext uri="{FF2B5EF4-FFF2-40B4-BE49-F238E27FC236}">
                  <a16:creationId xmlns:a16="http://schemas.microsoft.com/office/drawing/2014/main" id="{04F1CFEC-C9C3-2F05-A037-069B8952683B}"/>
                </a:ext>
              </a:extLst>
            </p:cNvPr>
            <p:cNvSpPr/>
            <p:nvPr/>
          </p:nvSpPr>
          <p:spPr bwMode="auto">
            <a:xfrm>
              <a:off x="6976840" y="1766429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Ellipse 39">
              <a:extLst>
                <a:ext uri="{FF2B5EF4-FFF2-40B4-BE49-F238E27FC236}">
                  <a16:creationId xmlns:a16="http://schemas.microsoft.com/office/drawing/2014/main" id="{D128163D-8D4F-FC63-739F-F7D5BD881579}"/>
                </a:ext>
              </a:extLst>
            </p:cNvPr>
            <p:cNvSpPr/>
            <p:nvPr/>
          </p:nvSpPr>
          <p:spPr bwMode="auto">
            <a:xfrm>
              <a:off x="6976839" y="1700030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A1C2CD30-07D5-9D8C-9571-668CFB1ED390}"/>
                </a:ext>
              </a:extLst>
            </p:cNvPr>
            <p:cNvSpPr/>
            <p:nvPr/>
          </p:nvSpPr>
          <p:spPr bwMode="auto">
            <a:xfrm>
              <a:off x="6976840" y="1633629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Ellipse 2">
              <a:extLst>
                <a:ext uri="{FF2B5EF4-FFF2-40B4-BE49-F238E27FC236}">
                  <a16:creationId xmlns:a16="http://schemas.microsoft.com/office/drawing/2014/main" id="{ED3098D8-54B2-3ADB-99DB-89004E8F3439}"/>
                </a:ext>
              </a:extLst>
            </p:cNvPr>
            <p:cNvSpPr/>
            <p:nvPr/>
          </p:nvSpPr>
          <p:spPr bwMode="auto">
            <a:xfrm>
              <a:off x="6976840" y="1567228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Ellipse 44">
              <a:extLst>
                <a:ext uri="{FF2B5EF4-FFF2-40B4-BE49-F238E27FC236}">
                  <a16:creationId xmlns:a16="http://schemas.microsoft.com/office/drawing/2014/main" id="{B8529A6B-B95D-97A2-06A7-841E4BEAD67C}"/>
                </a:ext>
              </a:extLst>
            </p:cNvPr>
            <p:cNvSpPr/>
            <p:nvPr/>
          </p:nvSpPr>
          <p:spPr bwMode="auto">
            <a:xfrm>
              <a:off x="6976840" y="1500827"/>
              <a:ext cx="559873" cy="126014"/>
            </a:xfrm>
            <a:prstGeom prst="ellipse">
              <a:avLst/>
            </a:prstGeom>
            <a:grpFill/>
            <a:ln w="2540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931278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2" grpId="0" animBg="1"/>
      <p:bldP spid="33" grpId="0"/>
      <p:bldP spid="43" grpId="0" animBg="1"/>
      <p:bldP spid="44" grpId="0" animBg="1"/>
      <p:bldP spid="53" grpId="0"/>
      <p:bldP spid="54" grpId="0" animBg="1"/>
      <p:bldP spid="55" grpId="0"/>
      <p:bldP spid="57" grpId="0" animBg="1"/>
      <p:bldP spid="58" grpId="0" animBg="1"/>
      <p:bldP spid="59" grpId="0" animBg="1"/>
      <p:bldP spid="60" grpId="0" animBg="1"/>
      <p:bldP spid="61" grpId="0"/>
      <p:bldP spid="75" grpId="0" animBg="1"/>
      <p:bldP spid="83" grpId="0" animBg="1"/>
      <p:bldP spid="84" grpId="0" animBg="1"/>
      <p:bldP spid="85" grpId="0" animBg="1"/>
      <p:bldP spid="100" grpId="0"/>
      <p:bldP spid="101" grpId="0" animBg="1"/>
      <p:bldP spid="10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E4352CA-F1A1-1E04-6343-C9880E2AD0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6892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4352CA-F1A1-1E04-6343-C9880E2AD0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Google Shape;175;p11">
            <a:extLst>
              <a:ext uri="{FF2B5EF4-FFF2-40B4-BE49-F238E27FC236}">
                <a16:creationId xmlns:a16="http://schemas.microsoft.com/office/drawing/2014/main" id="{86EA866A-9793-F85C-D8A8-084924B7AA85}"/>
              </a:ext>
            </a:extLst>
          </p:cNvPr>
          <p:cNvSpPr/>
          <p:nvPr/>
        </p:nvSpPr>
        <p:spPr>
          <a:xfrm>
            <a:off x="7594025" y="1120390"/>
            <a:ext cx="4118599" cy="2941402"/>
          </a:xfrm>
          <a:prstGeom prst="roundRect">
            <a:avLst/>
          </a:prstGeom>
          <a:solidFill>
            <a:schemeClr val="l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B69A22-F92F-1A3A-3177-5D73BB424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ch stac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27A3FE-9661-2E5F-1B6B-64CB539CBB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08B200-29CA-56B5-21F1-FF17C006A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AD455-156D-1761-5D3F-AA8E021BC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  <p:sp>
        <p:nvSpPr>
          <p:cNvPr id="9" name="Google Shape;175;p11">
            <a:extLst>
              <a:ext uri="{FF2B5EF4-FFF2-40B4-BE49-F238E27FC236}">
                <a16:creationId xmlns:a16="http://schemas.microsoft.com/office/drawing/2014/main" id="{D9CF6209-E2B0-87C6-B718-091A9014A04C}"/>
              </a:ext>
            </a:extLst>
          </p:cNvPr>
          <p:cNvSpPr/>
          <p:nvPr/>
        </p:nvSpPr>
        <p:spPr>
          <a:xfrm>
            <a:off x="7594025" y="4243838"/>
            <a:ext cx="4118599" cy="1252144"/>
          </a:xfrm>
          <a:prstGeom prst="roundRect">
            <a:avLst/>
          </a:prstGeom>
          <a:solidFill>
            <a:schemeClr val="l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" name="Google Shape;180;p11">
            <a:extLst>
              <a:ext uri="{FF2B5EF4-FFF2-40B4-BE49-F238E27FC236}">
                <a16:creationId xmlns:a16="http://schemas.microsoft.com/office/drawing/2014/main" id="{1153B36B-54D8-9AB7-352B-330BCE5B42FB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41020" t="34099" r="43867" b="47450"/>
          <a:stretch/>
        </p:blipFill>
        <p:spPr>
          <a:xfrm>
            <a:off x="8611165" y="1213399"/>
            <a:ext cx="2133600" cy="11852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81;p11">
            <a:extLst>
              <a:ext uri="{FF2B5EF4-FFF2-40B4-BE49-F238E27FC236}">
                <a16:creationId xmlns:a16="http://schemas.microsoft.com/office/drawing/2014/main" id="{534F53C5-A3B6-0C86-C910-CE21005FBD1F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37069" t="77106" r="40262" b="6108"/>
          <a:stretch/>
        </p:blipFill>
        <p:spPr>
          <a:xfrm>
            <a:off x="7900724" y="2554580"/>
            <a:ext cx="3200400" cy="1078231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183;p11">
            <a:extLst>
              <a:ext uri="{FF2B5EF4-FFF2-40B4-BE49-F238E27FC236}">
                <a16:creationId xmlns:a16="http://schemas.microsoft.com/office/drawing/2014/main" id="{599D62C8-676F-90C9-FBDA-0692F0885983}"/>
              </a:ext>
            </a:extLst>
          </p:cNvPr>
          <p:cNvSpPr txBox="1"/>
          <p:nvPr/>
        </p:nvSpPr>
        <p:spPr>
          <a:xfrm>
            <a:off x="7353865" y="5495982"/>
            <a:ext cx="464820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3600" b="1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Backend</a:t>
            </a:r>
            <a:endParaRPr sz="3600" b="1" dirty="0">
              <a:solidFill>
                <a:srgbClr val="0070C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3" name="Google Shape;184;p11">
            <a:extLst>
              <a:ext uri="{FF2B5EF4-FFF2-40B4-BE49-F238E27FC236}">
                <a16:creationId xmlns:a16="http://schemas.microsoft.com/office/drawing/2014/main" id="{FFE08CC6-7D85-E713-70C5-929EB4BDD10A}"/>
              </a:ext>
            </a:extLst>
          </p:cNvPr>
          <p:cNvCxnSpPr>
            <a:cxnSpLocks/>
          </p:cNvCxnSpPr>
          <p:nvPr/>
        </p:nvCxnSpPr>
        <p:spPr>
          <a:xfrm>
            <a:off x="5375920" y="3576479"/>
            <a:ext cx="1714155" cy="0"/>
          </a:xfrm>
          <a:prstGeom prst="straightConnector1">
            <a:avLst/>
          </a:prstGeom>
          <a:noFill/>
          <a:ln w="57150" cap="flat" cmpd="sng">
            <a:solidFill>
              <a:srgbClr val="E6761F"/>
            </a:solidFill>
            <a:prstDash val="solid"/>
            <a:round/>
            <a:headEnd type="triangle" w="med" len="med"/>
            <a:tailEnd type="triangle" w="med" len="med"/>
          </a:ln>
        </p:spPr>
      </p:cxnSp>
      <p:sp>
        <p:nvSpPr>
          <p:cNvPr id="14" name="Google Shape;176;p11">
            <a:extLst>
              <a:ext uri="{FF2B5EF4-FFF2-40B4-BE49-F238E27FC236}">
                <a16:creationId xmlns:a16="http://schemas.microsoft.com/office/drawing/2014/main" id="{D950A357-196E-947A-DC91-907C08A0BBA3}"/>
              </a:ext>
            </a:extLst>
          </p:cNvPr>
          <p:cNvSpPr/>
          <p:nvPr/>
        </p:nvSpPr>
        <p:spPr>
          <a:xfrm>
            <a:off x="479376" y="1567717"/>
            <a:ext cx="4307643" cy="3928265"/>
          </a:xfrm>
          <a:prstGeom prst="roundRect">
            <a:avLst/>
          </a:prstGeom>
          <a:solidFill>
            <a:schemeClr val="l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" name="Google Shape;179;p11">
            <a:extLst>
              <a:ext uri="{FF2B5EF4-FFF2-40B4-BE49-F238E27FC236}">
                <a16:creationId xmlns:a16="http://schemas.microsoft.com/office/drawing/2014/main" id="{F094556F-FE31-9FC9-DC62-14A947DEA6A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4857" t="33872" r="76253" b="51893"/>
          <a:stretch/>
        </p:blipFill>
        <p:spPr>
          <a:xfrm>
            <a:off x="1299697" y="2406208"/>
            <a:ext cx="2667000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82;p11">
            <a:extLst>
              <a:ext uri="{FF2B5EF4-FFF2-40B4-BE49-F238E27FC236}">
                <a16:creationId xmlns:a16="http://schemas.microsoft.com/office/drawing/2014/main" id="{D6ABC618-D771-2864-CBC0-78CFF6FB2705}"/>
              </a:ext>
            </a:extLst>
          </p:cNvPr>
          <p:cNvSpPr txBox="1"/>
          <p:nvPr/>
        </p:nvSpPr>
        <p:spPr>
          <a:xfrm>
            <a:off x="309097" y="5548497"/>
            <a:ext cx="464820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3600" b="1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Frontend</a:t>
            </a:r>
            <a:endParaRPr sz="3600" b="1" dirty="0">
              <a:solidFill>
                <a:srgbClr val="0070C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" name="Google Shape;186;p11" descr="Ein Bild, das Text enthält.&#10;&#10;Automatisch generierte Beschreibung">
            <a:extLst>
              <a:ext uri="{FF2B5EF4-FFF2-40B4-BE49-F238E27FC236}">
                <a16:creationId xmlns:a16="http://schemas.microsoft.com/office/drawing/2014/main" id="{F275A0FE-71B1-64BB-C5FB-6233738A3D11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32952" y="3722495"/>
            <a:ext cx="3432352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Picture 22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2DEEFD1C-EC53-D925-7D92-6BD777451D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2069" y="4443461"/>
            <a:ext cx="2717710" cy="914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49087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0E3F5E90-9966-2334-84CE-A06D2C4FC0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682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3F5E90-9966-2334-84CE-A06D2C4FC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2FE03D-328F-AA7C-7DC4-BB3F1D2BB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tiv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4EC17F-828B-A370-5F52-F7885C18D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E8188A-ABB1-6FE0-7465-43AE74B47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B6EA9-4B0E-EB9D-8FE6-311E415F9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72B296-C223-2D49-4CA4-E4881D25195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72" r="424" b="723"/>
          <a:stretch/>
        </p:blipFill>
        <p:spPr>
          <a:xfrm>
            <a:off x="8532512" y="761551"/>
            <a:ext cx="3396136" cy="569178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801F148-11EC-91D6-791C-E9F9221FF36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40" r="1442" b="2043"/>
          <a:stretch/>
        </p:blipFill>
        <p:spPr>
          <a:xfrm>
            <a:off x="4485396" y="789329"/>
            <a:ext cx="3396136" cy="5591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E9E7AD-6E0B-F0CD-00E3-644012D43E9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83" b="491"/>
          <a:stretch/>
        </p:blipFill>
        <p:spPr>
          <a:xfrm>
            <a:off x="354609" y="784728"/>
            <a:ext cx="3479807" cy="568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654359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0" y="4941168"/>
            <a:ext cx="12192000" cy="7207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r" eaLnBrk="0" hangingPunct="0">
              <a:defRPr/>
            </a:pPr>
            <a:endParaRPr lang="de-DE" dirty="0">
              <a:solidFill>
                <a:schemeClr val="tx1"/>
              </a:solidFill>
              <a:latin typeface="Arial Unicode MS" pitchFamily="34" charset="-128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800" dirty="0"/>
              <a:t>Motivation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Methodology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Problem Statement and Goal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Approach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  <a:p>
            <a:pPr marL="514350" indent="-514350">
              <a:buFont typeface="+mj-lt"/>
              <a:buAutoNum type="arabicPeriod"/>
            </a:pPr>
            <a:r>
              <a:rPr lang="en-US" sz="2800" dirty="0"/>
              <a:t>Time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/>
              <a:t>© sebi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C9FAB-BDC1-47C0-A8BB-6E12A8205D33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2308580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8DEAC3-016F-A6D6-2681-AA4F450936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962698-F02A-D20E-2A20-9B002E0159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FD094A-161E-03CD-FB89-D725CBB10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17C28E-CB3C-5F79-754E-5B84E82B3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  <p:pic>
        <p:nvPicPr>
          <p:cNvPr id="9" name="Content Placeholder 8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521B86C1-F6CC-F9AF-C9C4-C3CF81AE6BB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6" t="21327" r="7548" b="33341"/>
          <a:stretch/>
        </p:blipFill>
        <p:spPr>
          <a:xfrm>
            <a:off x="299827" y="1700808"/>
            <a:ext cx="11627174" cy="3240360"/>
          </a:xfrm>
        </p:spPr>
      </p:pic>
    </p:spTree>
    <p:extLst>
      <p:ext uri="{BB962C8B-B14F-4D97-AF65-F5344CB8AC3E}">
        <p14:creationId xmlns:p14="http://schemas.microsoft.com/office/powerpoint/2010/main" val="2061202111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think-cell data - do not delete" hidden="1">
            <a:extLst>
              <a:ext uri="{FF2B5EF4-FFF2-40B4-BE49-F238E27FC236}">
                <a16:creationId xmlns:a16="http://schemas.microsoft.com/office/drawing/2014/main" id="{56FC6878-C32D-FDE6-2ECE-3B6D3A556F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9866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425" imgH="424" progId="TCLayout.ActiveDocument.1">
                  <p:embed/>
                </p:oleObj>
              </mc:Choice>
              <mc:Fallback>
                <p:oleObj name="think-cell Slide" r:id="rId77" imgW="425" imgH="424" progId="TCLayout.ActiveDocument.1">
                  <p:embed/>
                  <p:pic>
                    <p:nvPicPr>
                      <p:cNvPr id="7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FC6878-C32D-FDE6-2ECE-3B6D3A556F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8DEAC3-016F-A6D6-2681-AA4F450936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962698-F02A-D20E-2A20-9B002E0159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FD094A-161E-03CD-FB89-D725CBB10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17C28E-CB3C-5F79-754E-5B84E82B3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A9F3330F-F786-E98A-180B-60AED9E52CC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127125" y="1765301"/>
            <a:ext cx="10160000" cy="335756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C596ED-43E2-E7D2-22FB-FAFE1658A618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2481264" y="1504950"/>
            <a:ext cx="11144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 algn="ctr">
              <a:spcBef>
                <a:spcPct val="0"/>
              </a:spcBef>
            </a:pPr>
            <a:fld id="{E6EEA216-D274-44FF-B3A9-C4AB896329B1}" type="datetime'''''''''''''''''''''''''''M''a''''y'''''''''''''''''''''">
              <a:rPr lang="en-GB" altLang="en-US" sz="1400" b="1" kern="0" smtClean="0"/>
              <a:pPr/>
              <a:t>May</a:t>
            </a:fld>
            <a:endParaRPr lang="en-GB" sz="1400" b="1" kern="0" noProof="0" dirty="0"/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457C729C-9154-5A51-B602-E1B0457977B5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3595689" y="1504950"/>
            <a:ext cx="10779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 algn="ctr">
              <a:spcBef>
                <a:spcPct val="0"/>
              </a:spcBef>
            </a:pPr>
            <a:fld id="{9498B5A9-B0F2-426E-9199-305145AE5318}" type="datetime'''''J''''''u''''''''''''''''''''''''''''''''n'''''''''''">
              <a:rPr lang="en-GB" altLang="en-US" sz="1400" b="1" kern="0" smtClean="0"/>
              <a:pPr/>
              <a:t>Jun</a:t>
            </a:fld>
            <a:endParaRPr lang="en-GB" sz="1400" b="1" kern="0" noProof="0" dirty="0"/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538E57CA-86AE-B30B-7B6F-78DAEA368B01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673601" y="1504950"/>
            <a:ext cx="11144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 algn="ctr">
              <a:spcBef>
                <a:spcPct val="0"/>
              </a:spcBef>
            </a:pPr>
            <a:fld id="{1B4E3BDE-EFAB-408E-AB9E-084C763A4552}" type="datetime'''''''''''''J''''''''''''''''''''''''u''''''''''''''''l'''''''">
              <a:rPr lang="en-GB" altLang="en-US" sz="1400" b="1" kern="0" smtClean="0"/>
              <a:pPr/>
              <a:t>Jul</a:t>
            </a:fld>
            <a:endParaRPr lang="en-GB" sz="1400" b="1" kern="0" noProof="0" dirty="0"/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7A23BC8E-8A4C-9667-BA1C-BCFB63B1B5C5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5788026" y="1504950"/>
            <a:ext cx="11144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 algn="ctr">
              <a:spcBef>
                <a:spcPct val="0"/>
              </a:spcBef>
            </a:pPr>
            <a:fld id="{B68F958B-967B-419B-8939-ADDF70E4ADA7}" type="datetime'''''''''''''''''''A''''''u''''''''''''''''''''''''g'''''''''">
              <a:rPr lang="en-GB" altLang="en-US" sz="1400" b="1" kern="0" smtClean="0"/>
              <a:pPr/>
              <a:t>Aug</a:t>
            </a:fld>
            <a:endParaRPr lang="en-GB" sz="1400" b="1" kern="0" noProof="0" dirty="0"/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F7B939CB-BA2C-8C38-C6F1-981572F72262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6902451" y="1504950"/>
            <a:ext cx="10779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 algn="ctr">
              <a:spcBef>
                <a:spcPct val="0"/>
              </a:spcBef>
            </a:pPr>
            <a:fld id="{C6B91C36-63DB-48C9-836D-EC4CFAF831A7}" type="datetime'''''''''''''S''''''''''''''''''''e''''''''''''''''''''p'''">
              <a:rPr lang="en-GB" altLang="en-US" sz="1400" b="1" kern="0" smtClean="0"/>
              <a:pPr/>
              <a:t>Sep</a:t>
            </a:fld>
            <a:endParaRPr lang="en-GB" sz="1400" b="1" kern="0" noProof="0" dirty="0"/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03DCE760-A41C-B8DB-11DC-1643A64B488E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7980364" y="1504950"/>
            <a:ext cx="11144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 algn="ctr">
              <a:spcBef>
                <a:spcPct val="0"/>
              </a:spcBef>
            </a:pPr>
            <a:fld id="{E65DAC95-1BDE-48CF-A78D-F81D43CDE1C5}" type="datetime'''''''''''''Oc''t'''''''''''''">
              <a:rPr lang="en-GB" altLang="en-US" sz="1400" b="1" kern="0" smtClean="0"/>
              <a:pPr/>
              <a:t>Oct</a:t>
            </a:fld>
            <a:endParaRPr lang="en-GB" sz="1400" b="1" kern="0" noProof="0" dirty="0"/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98D30C99-638D-59BF-0916-F76D41B23094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9094789" y="1504950"/>
            <a:ext cx="10779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 algn="ctr">
              <a:spcBef>
                <a:spcPct val="0"/>
              </a:spcBef>
            </a:pPr>
            <a:fld id="{A28E0B94-198E-4187-B7B9-F399912DA6BC}" type="datetime'''''No''''''''''''''''''''''''''''''''v'''''''">
              <a:rPr lang="en-GB" altLang="en-US" sz="1400" b="1" kern="0" smtClean="0"/>
              <a:pPr/>
              <a:t>Nov</a:t>
            </a:fld>
            <a:endParaRPr lang="en-GB" sz="1400" b="1" kern="0" noProof="0" dirty="0"/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5197CFCE-82B5-2EA8-0CEE-F83825E6F43B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0172701" y="1504950"/>
            <a:ext cx="11144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 algn="ctr">
              <a:spcBef>
                <a:spcPct val="0"/>
              </a:spcBef>
            </a:pPr>
            <a:fld id="{AE35EA06-EDCB-4C32-819C-6574DAF58D5C}" type="datetime'''''''''''D''''''''''''''''''''''''e''''''''c'''">
              <a:rPr lang="en-GB" altLang="en-US" sz="1400" b="1" kern="0" smtClean="0"/>
              <a:pPr/>
              <a:t>Dec</a:t>
            </a:fld>
            <a:endParaRPr lang="en-GB" sz="1400" b="1" kern="0" noProof="0" dirty="0"/>
          </a:p>
        </p:txBody>
      </p: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9E27F87D-70AF-7363-BCD3-E8837EFFB36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595688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2692D8A7-8FB9-7F1E-1BD9-195495167B0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467360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3EC67027-B86E-B008-9CC4-BE1C57BEAEF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788025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76C6F284-42C3-7667-F6BE-2FC1BEF8F97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90245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4034F1DF-2220-D8DE-3F3A-736E8FB5A63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980363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10281112-688D-F270-93F3-A1FA3585063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17270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73BF2A6-6E52-CD1D-2C41-5AFDD2A3F2B7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2481263" y="1765301"/>
            <a:ext cx="0" cy="33575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D8B9360-FD16-36FD-85AA-49151BE828A1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1287125" y="1765301"/>
            <a:ext cx="0" cy="33575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4" name="Straight Connector 633">
            <a:extLst>
              <a:ext uri="{FF2B5EF4-FFF2-40B4-BE49-F238E27FC236}">
                <a16:creationId xmlns:a16="http://schemas.microsoft.com/office/drawing/2014/main" id="{787E950E-AFA1-E0BF-43F3-6C78784ABF8D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9094788" y="1765300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F196AB4-34E4-FE41-7496-9044AC14BD3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127125" y="1765301"/>
            <a:ext cx="0" cy="33575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3F030F52-42A2-419E-F299-DCF9A876F895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770938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A47133AE-0506-8FCA-3E71-45C20C9DA810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3990975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61B46042-2DB9-6F35-370B-F6A6A4C2FA0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902335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6" name="Straight Connector 365">
            <a:extLst>
              <a:ext uri="{FF2B5EF4-FFF2-40B4-BE49-F238E27FC236}">
                <a16:creationId xmlns:a16="http://schemas.microsoft.com/office/drawing/2014/main" id="{100AC1EA-7C8C-1492-1BCF-2966435BC05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9274175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0F40FF20-32E5-9E49-8F26-E7F9A5FCEBF5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9526588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ABBE8810-29E5-B40D-4EA3-C7BC093A72D0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9777413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5B01DF32-FA83-96E9-9B53-4842D8B600F4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0029825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0" name="Straight Connector 369">
            <a:extLst>
              <a:ext uri="{FF2B5EF4-FFF2-40B4-BE49-F238E27FC236}">
                <a16:creationId xmlns:a16="http://schemas.microsoft.com/office/drawing/2014/main" id="{E1F39250-49BA-8FCD-387C-DF267B257D7C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028065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FF1B2AB2-C089-E4C0-C91F-F667014D18E0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0533063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2" name="Straight Connector 371">
            <a:extLst>
              <a:ext uri="{FF2B5EF4-FFF2-40B4-BE49-F238E27FC236}">
                <a16:creationId xmlns:a16="http://schemas.microsoft.com/office/drawing/2014/main" id="{0A41D184-8A7F-0C51-59A9-56589DB70E9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0783888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07F7F615-E28C-9AF4-9D3E-4666F801F982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103630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CEFB834E-9FC3-4CBE-87FC-FADB12835510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7261225" y="1765300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F9786DB5-7401-ABD0-F328-02CC8ACA9290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2732088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4E9DC5EA-8D5E-AD1B-106D-FBB50F5F05F5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298450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E18EC2FC-9BAA-BCB8-F187-81636BD9AFC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3235325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4B4EFF98-3260-69F6-C576-F545E21B299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3487738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AB2D15E9-8B16-B77E-3E38-D08B2206914E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3738563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6" name="Straight Connector 625">
            <a:extLst>
              <a:ext uri="{FF2B5EF4-FFF2-40B4-BE49-F238E27FC236}">
                <a16:creationId xmlns:a16="http://schemas.microsoft.com/office/drawing/2014/main" id="{94AE2C79-4CAD-63FD-A82F-0C5E30DB88AB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499745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8" name="Straight Connector 347">
            <a:extLst>
              <a:ext uri="{FF2B5EF4-FFF2-40B4-BE49-F238E27FC236}">
                <a16:creationId xmlns:a16="http://schemas.microsoft.com/office/drawing/2014/main" id="{8EA8BE6F-F763-69C3-5B86-C414D991CAE6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424180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7467A410-A8B4-2271-1C4B-D6A692055CDD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4494213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0" name="Straight Connector 349">
            <a:extLst>
              <a:ext uri="{FF2B5EF4-FFF2-40B4-BE49-F238E27FC236}">
                <a16:creationId xmlns:a16="http://schemas.microsoft.com/office/drawing/2014/main" id="{0F521AE1-0B3D-334F-E35A-26E40C249629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4745038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C4ECE146-F0FF-54FC-EC43-617EB236A09C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5248275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2" name="Straight Connector 351">
            <a:extLst>
              <a:ext uri="{FF2B5EF4-FFF2-40B4-BE49-F238E27FC236}">
                <a16:creationId xmlns:a16="http://schemas.microsoft.com/office/drawing/2014/main" id="{9A42E5E8-1CAE-CAE3-584E-4F8E2BE9D514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5500688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3" name="Straight Connector 352">
            <a:extLst>
              <a:ext uri="{FF2B5EF4-FFF2-40B4-BE49-F238E27FC236}">
                <a16:creationId xmlns:a16="http://schemas.microsoft.com/office/drawing/2014/main" id="{A371B4DC-EEA1-A1B9-EDFA-90BF0E3C0980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5751513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1A518C60-15C5-DAD8-183F-6B2EA446E125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6003925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240402EE-3B6E-C415-89EF-49DE97B8D553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625475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91B3B75-672C-1543-1466-06B39EB8F0EE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6507163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7" name="Straight Connector 356">
            <a:extLst>
              <a:ext uri="{FF2B5EF4-FFF2-40B4-BE49-F238E27FC236}">
                <a16:creationId xmlns:a16="http://schemas.microsoft.com/office/drawing/2014/main" id="{F4E1E630-416E-0E2B-5BFB-552771916448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6757988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Straight Connector 357">
            <a:extLst>
              <a:ext uri="{FF2B5EF4-FFF2-40B4-BE49-F238E27FC236}">
                <a16:creationId xmlns:a16="http://schemas.microsoft.com/office/drawing/2014/main" id="{885C8741-6260-4327-8D3F-E6FC9E22120D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701040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8CE0D885-0F6E-F98B-A9A1-1086ADFBF4FD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7513638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0" name="Straight Connector 359">
            <a:extLst>
              <a:ext uri="{FF2B5EF4-FFF2-40B4-BE49-F238E27FC236}">
                <a16:creationId xmlns:a16="http://schemas.microsoft.com/office/drawing/2014/main" id="{0B8EB0C2-87D1-6B24-F5EC-2CE7622358C3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7764463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F1BF6DC0-FF2A-A322-3EF3-B376C93D1A66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8016875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D52AA020-3C6C-A7C2-7E12-70F9251D7468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8267700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9E7BC0B6-11FB-A83E-6425-5FC8BA973A72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8520113" y="1765301"/>
            <a:ext cx="0" cy="3357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53B640F-72D9-F4E0-1B2C-D190A8EB0801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>
            <a:off x="1127125" y="2852738"/>
            <a:ext cx="10160000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24A4DE-F043-9493-4417-3248C2B23E1A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1127125" y="4003675"/>
            <a:ext cx="10160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6852C621-4D83-54F4-7B92-16884BDE30E7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1127125" y="5122863"/>
            <a:ext cx="101600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C1A787B8-E57B-8EF1-2BE1-12F9EA73AFB9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4098925" y="1765301"/>
            <a:ext cx="0" cy="352107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5F07C662-145C-8D7F-A6D4-41E19DBD6472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10675938" y="1765301"/>
            <a:ext cx="0" cy="352107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2B68514-42D7-0E16-0D86-F29A6F824CF0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127125" y="1765300"/>
            <a:ext cx="101600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6" name="Arrow: Pentagon 655">
            <a:extLst>
              <a:ext uri="{FF2B5EF4-FFF2-40B4-BE49-F238E27FC236}">
                <a16:creationId xmlns:a16="http://schemas.microsoft.com/office/drawing/2014/main" id="{C35214B1-A879-2103-E2EB-F988B383E662}"/>
              </a:ext>
            </a:extLst>
          </p:cNvPr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auto">
          <a:xfrm>
            <a:off x="2481263" y="3051176"/>
            <a:ext cx="1257300" cy="295275"/>
          </a:xfrm>
          <a:prstGeom prst="homePlate">
            <a:avLst>
              <a:gd name="adj" fmla="val 18280"/>
            </a:avLst>
          </a:prstGeom>
          <a:solidFill>
            <a:srgbClr val="31E35A"/>
          </a:solidFill>
          <a:ln w="9525" cmpd="sng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90488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</a:pPr>
            <a:endParaRPr lang="en-GB" sz="1400" kern="0" noProof="0" dirty="0"/>
          </a:p>
        </p:txBody>
      </p:sp>
      <p:sp>
        <p:nvSpPr>
          <p:cNvPr id="644" name="Rectangle 643">
            <a:extLst>
              <a:ext uri="{FF2B5EF4-FFF2-40B4-BE49-F238E27FC236}">
                <a16:creationId xmlns:a16="http://schemas.microsoft.com/office/drawing/2014/main" id="{6C4B979A-E225-C981-E592-30FC29500161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7980363" y="2513013"/>
            <a:ext cx="2803525" cy="984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36" name="Rectangle 635">
            <a:extLst>
              <a:ext uri="{FF2B5EF4-FFF2-40B4-BE49-F238E27FC236}">
                <a16:creationId xmlns:a16="http://schemas.microsoft.com/office/drawing/2014/main" id="{3F5FF78C-4363-D4B3-726C-9DCA865F4095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2481263" y="2022475"/>
            <a:ext cx="3846513" cy="984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53" name="Rectangle 652">
            <a:extLst>
              <a:ext uri="{FF2B5EF4-FFF2-40B4-BE49-F238E27FC236}">
                <a16:creationId xmlns:a16="http://schemas.microsoft.com/office/drawing/2014/main" id="{6D3EF9D5-2E05-1EFD-DA01-5EA8B58851DF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5751513" y="2513013"/>
            <a:ext cx="576263" cy="984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57" name="Rectangle 656">
            <a:extLst>
              <a:ext uri="{FF2B5EF4-FFF2-40B4-BE49-F238E27FC236}">
                <a16:creationId xmlns:a16="http://schemas.microsoft.com/office/drawing/2014/main" id="{05F26C8F-E2C5-F6D2-E14D-333DB7DB180C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4027488" y="3149600"/>
            <a:ext cx="1760538" cy="984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95" name="Isosceles Triangle 294">
            <a:extLst>
              <a:ext uri="{FF2B5EF4-FFF2-40B4-BE49-F238E27FC236}">
                <a16:creationId xmlns:a16="http://schemas.microsoft.com/office/drawing/2014/main" id="{7FB29698-2A54-D0ED-6344-93E9B1C9E70C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10618788" y="52292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04" name="Isosceles Triangle 203">
            <a:extLst>
              <a:ext uri="{FF2B5EF4-FFF2-40B4-BE49-F238E27FC236}">
                <a16:creationId xmlns:a16="http://schemas.microsoft.com/office/drawing/2014/main" id="{4239EC27-29C7-FF6E-7906-641162B89381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4041775" y="52292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DE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3F699C49-60B0-94E7-C89D-8E3B224BBBEC}"/>
              </a:ext>
            </a:extLst>
          </p:cNvPr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auto">
          <a:xfrm>
            <a:off x="3375025" y="5365749"/>
            <a:ext cx="14478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 algn="ctr">
              <a:spcBef>
                <a:spcPct val="0"/>
              </a:spcBef>
            </a:pPr>
            <a:fld id="{BB4F1AFE-D023-4C7F-87DC-06A23DB227FB}" type="datetime'1''''5''''''''/0''''6''/''2''''0''2''''''3'''''''''''''''''">
              <a:rPr lang="en-GB" altLang="en-US" sz="1400" kern="0" smtClean="0"/>
              <a:pPr marL="0" lvl="0" indent="0" algn="ctr">
                <a:spcBef>
                  <a:spcPct val="0"/>
                </a:spcBef>
              </a:pPr>
              <a:t>15/06/2023</a:t>
            </a:fld>
            <a:br>
              <a:rPr lang="en-GB" altLang="en-US" sz="1400" kern="0" dirty="0"/>
            </a:br>
            <a:r>
              <a:rPr lang="en-GB" altLang="en-US" sz="1400" kern="0" dirty="0"/>
              <a:t>Thesis registration</a:t>
            </a:r>
            <a:endParaRPr lang="en-GB" sz="1400" kern="0" noProof="0" dirty="0"/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9CFBA2BA-2CC0-47E5-2FEC-807F987D3402}"/>
              </a:ext>
            </a:extLst>
          </p:cNvPr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9947275" y="5365749"/>
            <a:ext cx="145891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 algn="ctr">
              <a:spcBef>
                <a:spcPct val="0"/>
              </a:spcBef>
            </a:pPr>
            <a:r>
              <a:rPr lang="en-GB" sz="1400" kern="0" noProof="0" dirty="0"/>
              <a:t>15/12/2023</a:t>
            </a:r>
            <a:br>
              <a:rPr lang="en-GB" sz="1400" kern="0" noProof="0" dirty="0"/>
            </a:br>
            <a:r>
              <a:rPr lang="en-GB" sz="1400" kern="0" noProof="0" dirty="0"/>
              <a:t>Thesis submiss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DE609B-C261-BA92-FF6D-D5C1F8D575F4}"/>
              </a:ext>
            </a:extLst>
          </p:cNvPr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1198563" y="1973263"/>
            <a:ext cx="5222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</a:pPr>
            <a:r>
              <a:rPr lang="en-GB" altLang="en-US" sz="1400" kern="0" dirty="0">
                <a:effectLst/>
              </a:rPr>
              <a:t>Thesis</a:t>
            </a:r>
            <a:endParaRPr lang="en-GB" sz="1400" kern="0" noProof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9C1B020-7767-682A-2F27-7E56B6042B9A}"/>
              </a:ext>
            </a:extLst>
          </p:cNvPr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1198563" y="3092450"/>
            <a:ext cx="12112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</a:pPr>
            <a:r>
              <a:rPr lang="en-GB" altLang="en-US" sz="1400" kern="0" dirty="0">
                <a:effectLst/>
              </a:rPr>
              <a:t>Implement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63507A-C5F1-849D-85F6-D049F67A8FEB}"/>
              </a:ext>
            </a:extLst>
          </p:cNvPr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1198563" y="4211638"/>
            <a:ext cx="660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</a:pPr>
            <a:r>
              <a:rPr lang="en-GB" altLang="en-US" sz="1400" kern="0" dirty="0">
                <a:effectLst/>
              </a:rPr>
              <a:t>Optional</a:t>
            </a:r>
          </a:p>
        </p:txBody>
      </p:sp>
      <p:sp>
        <p:nvSpPr>
          <p:cNvPr id="637" name="Rectangle 636">
            <a:extLst>
              <a:ext uri="{FF2B5EF4-FFF2-40B4-BE49-F238E27FC236}">
                <a16:creationId xmlns:a16="http://schemas.microsoft.com/office/drawing/2014/main" id="{04FA1A18-BC4B-F6CF-F32B-612D74F1F385}"/>
              </a:ext>
            </a:extLst>
          </p:cNvPr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3714749" y="2138363"/>
            <a:ext cx="1379538" cy="212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</a:pPr>
            <a:r>
              <a:rPr lang="en-GB" altLang="en-US" sz="1400" kern="0" dirty="0">
                <a:effectLst/>
              </a:rPr>
              <a:t>Literature Review</a:t>
            </a:r>
            <a:endParaRPr lang="en-GB" sz="1400" kern="0" noProof="0" dirty="0"/>
          </a:p>
        </p:txBody>
      </p:sp>
      <p:sp useBgFill="1">
        <p:nvSpPr>
          <p:cNvPr id="642" name="Rectangle 641">
            <a:extLst>
              <a:ext uri="{FF2B5EF4-FFF2-40B4-BE49-F238E27FC236}">
                <a16:creationId xmlns:a16="http://schemas.microsoft.com/office/drawing/2014/main" id="{C97B2712-B305-CE79-884E-8F8EDB81D988}"/>
              </a:ext>
            </a:extLst>
          </p:cNvPr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auto">
          <a:xfrm>
            <a:off x="10820400" y="2455863"/>
            <a:ext cx="985838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</a:pPr>
            <a:r>
              <a:rPr lang="en-GB" altLang="en-US" sz="1400" kern="0" dirty="0">
                <a:effectLst/>
              </a:rPr>
              <a:t>Write Thesis</a:t>
            </a:r>
            <a:endParaRPr lang="en-GB" sz="1400" kern="0" noProof="0" dirty="0"/>
          </a:p>
        </p:txBody>
      </p:sp>
      <p:sp>
        <p:nvSpPr>
          <p:cNvPr id="659" name="TextBox 658">
            <a:extLst>
              <a:ext uri="{FF2B5EF4-FFF2-40B4-BE49-F238E27FC236}">
                <a16:creationId xmlns:a16="http://schemas.microsoft.com/office/drawing/2014/main" id="{F86E49CA-49DB-614D-B212-075DC712A98A}"/>
              </a:ext>
            </a:extLst>
          </p:cNvPr>
          <p:cNvSpPr txBox="1"/>
          <p:nvPr/>
        </p:nvSpPr>
        <p:spPr>
          <a:xfrm>
            <a:off x="4156075" y="404664"/>
            <a:ext cx="601662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  <a:latin typeface="Arial" pitchFamily="34" charset="0"/>
              </a:rPr>
              <a:t>Is this style better?</a:t>
            </a:r>
          </a:p>
        </p:txBody>
      </p:sp>
    </p:spTree>
    <p:extLst>
      <p:ext uri="{BB962C8B-B14F-4D97-AF65-F5344CB8AC3E}">
        <p14:creationId xmlns:p14="http://schemas.microsoft.com/office/powerpoint/2010/main" val="844873446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E6ABE7-2D53-3AD3-7B92-4E718173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335D28-412D-D41C-BDB0-1AAC4C9F9D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288290" indent="-288290">
              <a:lnSpc>
                <a:spcPct val="107000"/>
              </a:lnSpc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[1]	an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henxi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J. Feng, K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v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L. Kong, X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Qiu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and X. Huang, “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 Contrastive Neural Text Generation,” May. 2022. [Online]. Available: http://arxiv.org/pdf/2205.14690v4</a:t>
            </a:r>
            <a:endParaRPr lang="en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8290" indent="-288290">
              <a:lnSpc>
                <a:spcPct val="107000"/>
              </a:lnSpc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[2]	R. Eisenstadt and M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lhadad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eural Micro-Planning for Data to Text Generation Produces more Cohesive Text,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ceedings of the Workshop on Discourse Theories for Text Planning. Dublin, Ireland: Association for Computational Linguistics. [Online]. Available: https://aclanthology.org/2020.dt4tp-1.2</a:t>
            </a:r>
            <a:endParaRPr lang="en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8290" indent="-288290">
              <a:lnSpc>
                <a:spcPct val="107000"/>
              </a:lnSpc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[3]	M. Freitag and S. Roy, “Unsupervised Natural Language Generation with Denoising Autoencoders,” Apr. 2018. [Online]. Available: http://arxiv.org/pdf/1804.07899v2</a:t>
            </a:r>
            <a:endParaRPr lang="en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8290" indent="-288290">
              <a:lnSpc>
                <a:spcPct val="107000"/>
              </a:lnSpc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[4]	R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uduppully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Y. Fu, and M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pat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“Data-to-text Generation with Variational Sequential Planning,” Feb. 2022. [Online]. Available: http://arxiv.org/pdf/2202.13756v1</a:t>
            </a:r>
            <a:endParaRPr lang="en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8290" indent="-288290">
              <a:lnSpc>
                <a:spcPct val="107000"/>
              </a:lnSpc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[5]	L. F. R. Ribeiro, M. Schmitt, H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chütz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and I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urevych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“Investigating Pretrained Language Models for Graph-to-Text Generation,” Jul. 2020. [Online]. Available: http://arxiv.org/pdf/2007.08426v3</a:t>
            </a:r>
            <a:endParaRPr lang="en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8290" indent="-288290">
              <a:lnSpc>
                <a:spcPct val="107000"/>
              </a:lnSpc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[6]	E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iloff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D. Chiang, J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ckenmaie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and J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sujii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Eds., 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ceedings of the 2018 Conference on Empirical Methods in Natural Language Processing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Stroudsburg, PA, USA: Association for Computational Linguistics, 2018.</a:t>
            </a:r>
            <a:endParaRPr lang="en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8290" indent="-288290">
              <a:lnSpc>
                <a:spcPct val="107000"/>
              </a:lnSpc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[7]	Y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u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Z. Meng, S. Baker, and N. Collier, “Few-Shot Table-to-Text Generation with Prototype Memory,” 2021.</a:t>
            </a:r>
            <a:endParaRPr lang="en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8290" indent="-288290">
              <a:lnSpc>
                <a:spcPct val="107000"/>
              </a:lnSpc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[8]	Y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u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D. Vandyke, S. Wang, Y. Fang, and N. Collier, “Plan-then-Generate: Controlled Data-to-Text Generation via Planning,” Aug. 2021. [Online]. Available: http://arxiv.org/pdf/2108.13740v1</a:t>
            </a:r>
            <a:endParaRPr lang="en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8290" indent="-288290">
              <a:lnSpc>
                <a:spcPct val="107000"/>
              </a:lnSpc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[9]	S. Wiseman, S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hiebe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and A. Rush, “Learning Neural Templates for Text Generation,” in 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ceedings of the 2018 Conference on Empirical Methods in Natural Language Processing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Brussels, Belgium, 2018, pp. 3174–3187.</a:t>
            </a:r>
            <a:endParaRPr lang="en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8290" indent="-288290">
              <a:lnSpc>
                <a:spcPct val="107000"/>
              </a:lnSpc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[10] S. Yang and Y. Liu, “Data-to-text Generation via Planning,” 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J. Phys.: Conf. Ser.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vol. 1827, no. 1, p. 12190, 2021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oi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 10.1088/1742-6596/1827/1/012190.</a:t>
            </a:r>
            <a:endParaRPr lang="en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4B578B-D330-BB54-C3C0-A1A909B4F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35988B-1F88-75B0-3482-7F0E9159A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BE2643-D987-BD60-232C-B23E9517C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9992595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ck to the good </a:t>
            </a:r>
            <a:r>
              <a:rPr lang="en-US" dirty="0" err="1"/>
              <a:t>sebis</a:t>
            </a:r>
            <a:r>
              <a:rPr lang="en-US" dirty="0"/>
              <a:t> tradition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Provide action links at the bottom of the slide to guide the audience to our web pages or publications (see below). (Select the text, press CTRL-K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Use a file name according to our sebis conventions which helps us and our audience to find the file of your presentation on our web site with Google search:</a:t>
            </a:r>
          </a:p>
          <a:p>
            <a:pPr lvl="2"/>
            <a:r>
              <a:rPr lang="en-US" dirty="0"/>
              <a:t>YYMMDD Author Short Title</a:t>
            </a:r>
          </a:p>
          <a:p>
            <a:pPr lvl="2"/>
            <a:r>
              <a:rPr lang="en-US" dirty="0"/>
              <a:t>Include this string in the footer (</a:t>
            </a:r>
            <a:r>
              <a:rPr lang="en-US" dirty="0" err="1"/>
              <a:t>Einfügen</a:t>
            </a:r>
            <a:r>
              <a:rPr lang="en-US" dirty="0"/>
              <a:t> -&gt; Kopf- und </a:t>
            </a:r>
            <a:r>
              <a:rPr lang="en-US" dirty="0" err="1"/>
              <a:t>Fusszeile</a:t>
            </a:r>
            <a:r>
              <a:rPr lang="en-US" dirty="0"/>
              <a:t> -&gt; </a:t>
            </a:r>
            <a:r>
              <a:rPr lang="en-US" dirty="0" err="1"/>
              <a:t>Fusszeile</a:t>
            </a:r>
            <a:r>
              <a:rPr lang="en-US" dirty="0"/>
              <a:t>)</a:t>
            </a:r>
          </a:p>
          <a:p>
            <a:pPr lvl="2"/>
            <a:r>
              <a:rPr lang="en-US" dirty="0"/>
              <a:t>The unusual date format simplifies the search for the latest version of a slide in an alphabetical directory listing (Dropbox, Explorer, Tricia, Sky-Drive)</a:t>
            </a:r>
          </a:p>
          <a:p>
            <a:pPr lvl="2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/>
              <a:t>© sebi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C9FAB-BDC1-47C0-A8BB-6E12A8205D33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332904" y="6351132"/>
            <a:ext cx="11524664" cy="215444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 lvl="0" algn="r"/>
            <a:r>
              <a:rPr lang="en-US" sz="800" i="1" dirty="0">
                <a:solidFill>
                  <a:srgbClr val="000000"/>
                </a:solidFill>
                <a:latin typeface="Arial"/>
              </a:rPr>
              <a:t>For more information visit </a:t>
            </a:r>
            <a:r>
              <a:rPr lang="en-US" sz="800" i="1" dirty="0">
                <a:solidFill>
                  <a:srgbClr val="000000"/>
                </a:solidFill>
                <a:latin typeface="Arial"/>
                <a:hlinkClick r:id="rId3"/>
              </a:rPr>
              <a:t>BEAMS</a:t>
            </a:r>
            <a:r>
              <a:rPr lang="en-US" sz="800" i="1" dirty="0">
                <a:solidFill>
                  <a:srgbClr val="000000"/>
                </a:solidFill>
                <a:latin typeface="Arial"/>
              </a:rPr>
              <a:t> , </a:t>
            </a:r>
            <a:r>
              <a:rPr lang="en-US" sz="800" i="1" dirty="0">
                <a:solidFill>
                  <a:srgbClr val="000000"/>
                </a:solidFill>
                <a:latin typeface="Arial"/>
                <a:hlinkClick r:id="rId4"/>
              </a:rPr>
              <a:t>EAM Pattern Catalog</a:t>
            </a:r>
            <a:r>
              <a:rPr lang="en-US" sz="800" i="1" dirty="0">
                <a:solidFill>
                  <a:srgbClr val="000000"/>
                </a:solidFill>
                <a:latin typeface="Arial"/>
              </a:rPr>
              <a:t> and </a:t>
            </a:r>
            <a:r>
              <a:rPr lang="en-US" sz="800" i="1" dirty="0">
                <a:solidFill>
                  <a:srgbClr val="000000"/>
                </a:solidFill>
                <a:latin typeface="Arial"/>
                <a:hlinkClick r:id="rId5"/>
              </a:rPr>
              <a:t>EAM KPI Catalog</a:t>
            </a:r>
            <a:r>
              <a:rPr lang="en-US" sz="800" i="1" dirty="0">
                <a:solidFill>
                  <a:srgbClr val="000000"/>
                </a:solidFill>
                <a:latin typeface="Arial"/>
              </a:rPr>
              <a:t> (http://wwwmatthes.in.tum.de)</a:t>
            </a:r>
          </a:p>
        </p:txBody>
      </p:sp>
      <p:sp>
        <p:nvSpPr>
          <p:cNvPr id="11" name="Rechteck 10"/>
          <p:cNvSpPr/>
          <p:nvPr/>
        </p:nvSpPr>
        <p:spPr>
          <a:xfrm>
            <a:off x="332904" y="6093297"/>
            <a:ext cx="11524664" cy="215444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 lvl="0" algn="r"/>
            <a:r>
              <a:rPr lang="en-US" sz="800" i="1" dirty="0">
                <a:solidFill>
                  <a:srgbClr val="000000"/>
                </a:solidFill>
                <a:latin typeface="Arial"/>
              </a:rPr>
              <a:t>[</a:t>
            </a:r>
            <a:r>
              <a:rPr lang="en-US" sz="800" i="1" dirty="0">
                <a:solidFill>
                  <a:srgbClr val="000000"/>
                </a:solidFill>
                <a:latin typeface="Arial"/>
                <a:hlinkClick r:id="rId6"/>
              </a:rPr>
              <a:t>Ha13g</a:t>
            </a:r>
            <a:r>
              <a:rPr lang="en-US" sz="800" i="1" dirty="0">
                <a:solidFill>
                  <a:srgbClr val="000000"/>
                </a:solidFill>
                <a:latin typeface="Arial"/>
              </a:rPr>
              <a:t>] </a:t>
            </a:r>
            <a:r>
              <a:rPr lang="en-US" sz="800" i="1" dirty="0" err="1">
                <a:solidFill>
                  <a:srgbClr val="000000"/>
                </a:solidFill>
                <a:latin typeface="Arial"/>
              </a:rPr>
              <a:t>Hauder</a:t>
            </a:r>
            <a:r>
              <a:rPr lang="en-US" sz="800" i="1" dirty="0">
                <a:solidFill>
                  <a:srgbClr val="000000"/>
                </a:solidFill>
                <a:latin typeface="Arial"/>
              </a:rPr>
              <a:t>, M., Roth, S., Matthes, F.: Current Tool support for Metrics in Enterprise Architecture Management </a:t>
            </a:r>
          </a:p>
        </p:txBody>
      </p:sp>
    </p:spTree>
    <p:extLst>
      <p:ext uri="{BB962C8B-B14F-4D97-AF65-F5344CB8AC3E}">
        <p14:creationId xmlns:p14="http://schemas.microsoft.com/office/powerpoint/2010/main" val="4097628108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 the sebis visual language </a:t>
            </a:r>
            <a:br>
              <a:rPr lang="en-US"/>
            </a:br>
            <a:r>
              <a:rPr lang="en-US"/>
              <a:t>(shapes, fonts, colors, sizes)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/>
              <a:t>© sebis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B0F6F9-0731-40B4-89E9-684A2C5BBDDF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31" name="Rechteck 30"/>
          <p:cNvSpPr/>
          <p:nvPr/>
        </p:nvSpPr>
        <p:spPr bwMode="auto">
          <a:xfrm>
            <a:off x="1847528" y="4387205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tx1"/>
                </a:solidFill>
                <a:cs typeface="Arial" pitchFamily="34" charset="0"/>
              </a:rPr>
            </a:b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orm 1</a:t>
            </a:r>
          </a:p>
        </p:txBody>
      </p:sp>
      <p:sp>
        <p:nvSpPr>
          <p:cNvPr id="32" name="Rechteck 31"/>
          <p:cNvSpPr/>
          <p:nvPr/>
        </p:nvSpPr>
        <p:spPr bwMode="auto">
          <a:xfrm>
            <a:off x="3039835" y="4387205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tx1"/>
                </a:solidFill>
                <a:cs typeface="Arial" pitchFamily="34" charset="0"/>
              </a:rPr>
            </a:b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orm 2</a:t>
            </a:r>
          </a:p>
        </p:txBody>
      </p:sp>
      <p:sp>
        <p:nvSpPr>
          <p:cNvPr id="33" name="Rechteck 32"/>
          <p:cNvSpPr/>
          <p:nvPr/>
        </p:nvSpPr>
        <p:spPr bwMode="auto">
          <a:xfrm>
            <a:off x="4232142" y="4387205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tx1"/>
                </a:solidFill>
                <a:cs typeface="Arial" pitchFamily="34" charset="0"/>
              </a:rPr>
            </a:b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orm 3</a:t>
            </a:r>
          </a:p>
        </p:txBody>
      </p:sp>
      <p:sp>
        <p:nvSpPr>
          <p:cNvPr id="34" name="Rechteck 33"/>
          <p:cNvSpPr/>
          <p:nvPr/>
        </p:nvSpPr>
        <p:spPr bwMode="auto">
          <a:xfrm>
            <a:off x="5424449" y="4387205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tx1"/>
                </a:solidFill>
                <a:cs typeface="Arial" pitchFamily="34" charset="0"/>
              </a:rPr>
            </a:b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orm 4</a:t>
            </a:r>
          </a:p>
        </p:txBody>
      </p:sp>
      <p:sp>
        <p:nvSpPr>
          <p:cNvPr id="35" name="Rechteck 34"/>
          <p:cNvSpPr/>
          <p:nvPr/>
        </p:nvSpPr>
        <p:spPr bwMode="auto">
          <a:xfrm>
            <a:off x="6616756" y="4387205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tx1"/>
                </a:solidFill>
                <a:cs typeface="Arial" pitchFamily="34" charset="0"/>
              </a:rPr>
            </a:b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orm 5</a:t>
            </a:r>
          </a:p>
        </p:txBody>
      </p:sp>
      <p:sp>
        <p:nvSpPr>
          <p:cNvPr id="36" name="Rechteck 35"/>
          <p:cNvSpPr/>
          <p:nvPr/>
        </p:nvSpPr>
        <p:spPr bwMode="auto">
          <a:xfrm>
            <a:off x="7809063" y="4387205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tx1"/>
                </a:solidFill>
                <a:cs typeface="Arial" pitchFamily="34" charset="0"/>
              </a:rPr>
            </a:b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orm 6</a:t>
            </a:r>
          </a:p>
        </p:txBody>
      </p:sp>
      <p:sp>
        <p:nvSpPr>
          <p:cNvPr id="37" name="Rechteck 36"/>
          <p:cNvSpPr/>
          <p:nvPr/>
        </p:nvSpPr>
        <p:spPr bwMode="auto">
          <a:xfrm>
            <a:off x="9001372" y="4387205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tx1"/>
                </a:solidFill>
                <a:cs typeface="Arial" pitchFamily="34" charset="0"/>
              </a:rPr>
            </a:br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Form 6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1775521" y="1536973"/>
            <a:ext cx="979755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Default </a:t>
            </a:r>
          </a:p>
          <a:p>
            <a:r>
              <a:rPr lang="en-US" dirty="0"/>
              <a:t>Text</a:t>
            </a:r>
          </a:p>
        </p:txBody>
      </p:sp>
      <p:sp>
        <p:nvSpPr>
          <p:cNvPr id="42" name="Rechteck 41"/>
          <p:cNvSpPr/>
          <p:nvPr/>
        </p:nvSpPr>
        <p:spPr bwMode="auto">
          <a:xfrm>
            <a:off x="3783904" y="1404357"/>
            <a:ext cx="1732367" cy="914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Default Rectangle</a:t>
            </a:r>
          </a:p>
        </p:txBody>
      </p:sp>
      <p:cxnSp>
        <p:nvCxnSpPr>
          <p:cNvPr id="44" name="Gerade Verbindung mit Pfeil 43"/>
          <p:cNvCxnSpPr>
            <a:stCxn id="41" idx="3"/>
            <a:endCxn id="42" idx="1"/>
          </p:cNvCxnSpPr>
          <p:nvPr/>
        </p:nvCxnSpPr>
        <p:spPr bwMode="auto">
          <a:xfrm>
            <a:off x="2755275" y="1860139"/>
            <a:ext cx="1028628" cy="1419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3" name="Textfeld 52"/>
          <p:cNvSpPr txBox="1"/>
          <p:nvPr/>
        </p:nvSpPr>
        <p:spPr>
          <a:xfrm>
            <a:off x="2825806" y="1304765"/>
            <a:ext cx="857927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200" dirty="0"/>
              <a:t>Default </a:t>
            </a:r>
          </a:p>
          <a:p>
            <a:pPr algn="ctr"/>
            <a:r>
              <a:rPr lang="en-US" sz="1200" dirty="0"/>
              <a:t>Line Style</a:t>
            </a:r>
          </a:p>
        </p:txBody>
      </p:sp>
      <p:sp>
        <p:nvSpPr>
          <p:cNvPr id="46" name="Eingekerbter Richtungspfeil 45"/>
          <p:cNvSpPr/>
          <p:nvPr/>
        </p:nvSpPr>
        <p:spPr bwMode="auto">
          <a:xfrm>
            <a:off x="3815224" y="2559695"/>
            <a:ext cx="1704713" cy="672664"/>
          </a:xfrm>
          <a:prstGeom prst="chevron">
            <a:avLst>
              <a:gd name="adj" fmla="val 2112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Process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7536161" y="1979548"/>
            <a:ext cx="671979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User</a:t>
            </a:r>
          </a:p>
        </p:txBody>
      </p:sp>
      <p:sp>
        <p:nvSpPr>
          <p:cNvPr id="59" name="Abgerundetes Rechteck 58"/>
          <p:cNvSpPr/>
          <p:nvPr/>
        </p:nvSpPr>
        <p:spPr bwMode="auto">
          <a:xfrm>
            <a:off x="5597758" y="1404357"/>
            <a:ext cx="1811847" cy="9144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Default</a:t>
            </a:r>
          </a:p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Rounded R.</a:t>
            </a:r>
          </a:p>
        </p:txBody>
      </p:sp>
      <p:sp>
        <p:nvSpPr>
          <p:cNvPr id="67" name="Pfeil nach rechts 66"/>
          <p:cNvSpPr/>
          <p:nvPr/>
        </p:nvSpPr>
        <p:spPr bwMode="auto">
          <a:xfrm>
            <a:off x="5663952" y="2351125"/>
            <a:ext cx="1745652" cy="984028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Arrow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8411600" y="1979548"/>
            <a:ext cx="736099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Store</a:t>
            </a:r>
          </a:p>
        </p:txBody>
      </p:sp>
      <p:sp>
        <p:nvSpPr>
          <p:cNvPr id="79" name="Rechteckige Legende 78"/>
          <p:cNvSpPr/>
          <p:nvPr/>
        </p:nvSpPr>
        <p:spPr bwMode="auto">
          <a:xfrm>
            <a:off x="9001372" y="3554814"/>
            <a:ext cx="1080120" cy="630271"/>
          </a:xfrm>
          <a:prstGeom prst="wedgeRectCallout">
            <a:avLst>
              <a:gd name="adj1" fmla="val -20833"/>
              <a:gd name="adj2" fmla="val 80475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Explanation</a:t>
            </a:r>
          </a:p>
        </p:txBody>
      </p:sp>
      <p:sp>
        <p:nvSpPr>
          <p:cNvPr id="80" name="Rechteck 79"/>
          <p:cNvSpPr/>
          <p:nvPr/>
        </p:nvSpPr>
        <p:spPr bwMode="auto">
          <a:xfrm>
            <a:off x="1847528" y="5229200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bg1"/>
                </a:solidFill>
                <a:cs typeface="Arial" pitchFamily="34" charset="0"/>
              </a:rPr>
            </a:b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orm 1</a:t>
            </a:r>
          </a:p>
        </p:txBody>
      </p:sp>
      <p:sp>
        <p:nvSpPr>
          <p:cNvPr id="81" name="Rechteck 80"/>
          <p:cNvSpPr/>
          <p:nvPr/>
        </p:nvSpPr>
        <p:spPr bwMode="auto">
          <a:xfrm>
            <a:off x="3039835" y="5229200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bg1"/>
                </a:solidFill>
                <a:cs typeface="Arial" pitchFamily="34" charset="0"/>
              </a:rPr>
            </a:b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orm 2</a:t>
            </a:r>
          </a:p>
        </p:txBody>
      </p:sp>
      <p:sp>
        <p:nvSpPr>
          <p:cNvPr id="82" name="Rechteck 81"/>
          <p:cNvSpPr/>
          <p:nvPr/>
        </p:nvSpPr>
        <p:spPr bwMode="auto">
          <a:xfrm>
            <a:off x="4232142" y="5229200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bg1"/>
                </a:solidFill>
                <a:cs typeface="Arial" pitchFamily="34" charset="0"/>
              </a:rPr>
            </a:b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orm 3</a:t>
            </a:r>
          </a:p>
        </p:txBody>
      </p:sp>
      <p:sp>
        <p:nvSpPr>
          <p:cNvPr id="83" name="Rechteck 82"/>
          <p:cNvSpPr/>
          <p:nvPr/>
        </p:nvSpPr>
        <p:spPr bwMode="auto">
          <a:xfrm>
            <a:off x="5424449" y="5229200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bg1"/>
                </a:solidFill>
                <a:cs typeface="Arial" pitchFamily="34" charset="0"/>
              </a:rPr>
            </a:b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orm 4</a:t>
            </a:r>
          </a:p>
        </p:txBody>
      </p:sp>
      <p:sp>
        <p:nvSpPr>
          <p:cNvPr id="84" name="Rechteck 83"/>
          <p:cNvSpPr/>
          <p:nvPr/>
        </p:nvSpPr>
        <p:spPr bwMode="auto">
          <a:xfrm>
            <a:off x="6616756" y="5229200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bg1"/>
                </a:solidFill>
                <a:cs typeface="Arial" pitchFamily="34" charset="0"/>
              </a:rPr>
            </a:b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orm 5</a:t>
            </a:r>
          </a:p>
        </p:txBody>
      </p:sp>
      <p:sp>
        <p:nvSpPr>
          <p:cNvPr id="85" name="Rechteck 84"/>
          <p:cNvSpPr/>
          <p:nvPr/>
        </p:nvSpPr>
        <p:spPr bwMode="auto">
          <a:xfrm>
            <a:off x="7809063" y="5229200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bg1"/>
                </a:solidFill>
                <a:cs typeface="Arial" pitchFamily="34" charset="0"/>
              </a:rPr>
            </a:b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orm 6</a:t>
            </a:r>
          </a:p>
        </p:txBody>
      </p:sp>
      <p:sp>
        <p:nvSpPr>
          <p:cNvPr id="86" name="Rechteck 85"/>
          <p:cNvSpPr/>
          <p:nvPr/>
        </p:nvSpPr>
        <p:spPr bwMode="auto">
          <a:xfrm>
            <a:off x="9001372" y="5229200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ast</a:t>
            </a:r>
            <a:br>
              <a:rPr lang="en-US" dirty="0">
                <a:solidFill>
                  <a:schemeClr val="bg1"/>
                </a:solidFill>
                <a:cs typeface="Arial" pitchFamily="34" charset="0"/>
              </a:rPr>
            </a:b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orm 6</a:t>
            </a:r>
          </a:p>
        </p:txBody>
      </p:sp>
      <p:sp>
        <p:nvSpPr>
          <p:cNvPr id="87" name="Würfel 86"/>
          <p:cNvSpPr/>
          <p:nvPr/>
        </p:nvSpPr>
        <p:spPr bwMode="auto">
          <a:xfrm>
            <a:off x="7576635" y="2544291"/>
            <a:ext cx="1635522" cy="688068"/>
          </a:xfrm>
          <a:prstGeom prst="cub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cs typeface="Arial" pitchFamily="34" charset="0"/>
              </a:rPr>
              <a:t>Box</a:t>
            </a:r>
          </a:p>
        </p:txBody>
      </p:sp>
      <p:sp>
        <p:nvSpPr>
          <p:cNvPr id="88" name="Gefaltete Ecke 87"/>
          <p:cNvSpPr/>
          <p:nvPr/>
        </p:nvSpPr>
        <p:spPr bwMode="auto">
          <a:xfrm>
            <a:off x="9472868" y="1341198"/>
            <a:ext cx="591193" cy="573342"/>
          </a:xfrm>
          <a:prstGeom prst="foldedCorner">
            <a:avLst>
              <a:gd name="adj" fmla="val 2650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100" dirty="0">
                <a:solidFill>
                  <a:schemeClr val="tx1"/>
                </a:solidFill>
                <a:cs typeface="Arial" pitchFamily="34" charset="0"/>
              </a:rPr>
              <a:t>Text</a:t>
            </a:r>
          </a:p>
        </p:txBody>
      </p:sp>
      <p:sp>
        <p:nvSpPr>
          <p:cNvPr id="89" name="Textfeld 88"/>
          <p:cNvSpPr txBox="1"/>
          <p:nvPr/>
        </p:nvSpPr>
        <p:spPr>
          <a:xfrm>
            <a:off x="9164925" y="1979548"/>
            <a:ext cx="133882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Information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7598156" y="1315616"/>
            <a:ext cx="559873" cy="576064"/>
            <a:chOff x="572022" y="2923566"/>
            <a:chExt cx="659253" cy="707501"/>
          </a:xfrm>
        </p:grpSpPr>
        <p:sp>
          <p:nvSpPr>
            <p:cNvPr id="8" name="Ellipse 7"/>
            <p:cNvSpPr/>
            <p:nvPr/>
          </p:nvSpPr>
          <p:spPr bwMode="auto">
            <a:xfrm>
              <a:off x="721628" y="2923566"/>
              <a:ext cx="360040" cy="36000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9" name="Kreis 8"/>
            <p:cNvSpPr/>
            <p:nvPr/>
          </p:nvSpPr>
          <p:spPr bwMode="auto">
            <a:xfrm>
              <a:off x="572022" y="3283566"/>
              <a:ext cx="659253" cy="347501"/>
            </a:xfrm>
            <a:custGeom>
              <a:avLst/>
              <a:gdLst/>
              <a:ahLst/>
              <a:cxnLst/>
              <a:rect l="l" t="t" r="r" b="b"/>
              <a:pathLst>
                <a:path w="659253" h="347501">
                  <a:moveTo>
                    <a:pt x="194601" y="0"/>
                  </a:moveTo>
                  <a:cubicBezTo>
                    <a:pt x="232765" y="32538"/>
                    <a:pt x="282424" y="51587"/>
                    <a:pt x="336545" y="51587"/>
                  </a:cubicBezTo>
                  <a:cubicBezTo>
                    <a:pt x="388019" y="51587"/>
                    <a:pt x="435456" y="34356"/>
                    <a:pt x="472828" y="4657"/>
                  </a:cubicBezTo>
                  <a:cubicBezTo>
                    <a:pt x="583315" y="65446"/>
                    <a:pt x="659017" y="195929"/>
                    <a:pt x="659253" y="346805"/>
                  </a:cubicBezTo>
                  <a:lnTo>
                    <a:pt x="329603" y="347501"/>
                  </a:lnTo>
                  <a:lnTo>
                    <a:pt x="0" y="340954"/>
                  </a:lnTo>
                  <a:cubicBezTo>
                    <a:pt x="2256" y="188331"/>
                    <a:pt x="81449" y="58036"/>
                    <a:pt x="194601" y="0"/>
                  </a:cubicBez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grpSp>
        <p:nvGrpSpPr>
          <p:cNvPr id="62" name="Gruppieren 61"/>
          <p:cNvGrpSpPr/>
          <p:nvPr/>
        </p:nvGrpSpPr>
        <p:grpSpPr>
          <a:xfrm>
            <a:off x="8470044" y="1500064"/>
            <a:ext cx="559874" cy="391616"/>
            <a:chOff x="6976839" y="1500827"/>
            <a:chExt cx="559874" cy="391616"/>
          </a:xfrm>
        </p:grpSpPr>
        <p:sp>
          <p:nvSpPr>
            <p:cNvPr id="43" name="Ellipse 42"/>
            <p:cNvSpPr/>
            <p:nvPr/>
          </p:nvSpPr>
          <p:spPr bwMode="auto">
            <a:xfrm>
              <a:off x="6976840" y="1766429"/>
              <a:ext cx="559873" cy="126014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Ellipse 39"/>
            <p:cNvSpPr/>
            <p:nvPr/>
          </p:nvSpPr>
          <p:spPr bwMode="auto">
            <a:xfrm>
              <a:off x="6976839" y="1700030"/>
              <a:ext cx="559873" cy="126014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Ellipse 38"/>
            <p:cNvSpPr/>
            <p:nvPr/>
          </p:nvSpPr>
          <p:spPr bwMode="auto">
            <a:xfrm>
              <a:off x="6976840" y="1633629"/>
              <a:ext cx="559873" cy="126014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Ellipse 2"/>
            <p:cNvSpPr/>
            <p:nvPr/>
          </p:nvSpPr>
          <p:spPr bwMode="auto">
            <a:xfrm>
              <a:off x="6976840" y="1567228"/>
              <a:ext cx="559873" cy="126014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Ellipse 44"/>
            <p:cNvSpPr/>
            <p:nvPr/>
          </p:nvSpPr>
          <p:spPr bwMode="auto">
            <a:xfrm>
              <a:off x="6976840" y="1500827"/>
              <a:ext cx="559873" cy="126014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7" name="Ellipse 46"/>
          <p:cNvSpPr/>
          <p:nvPr/>
        </p:nvSpPr>
        <p:spPr bwMode="auto">
          <a:xfrm>
            <a:off x="1800769" y="2565340"/>
            <a:ext cx="1490966" cy="661374"/>
          </a:xfrm>
          <a:custGeom>
            <a:avLst/>
            <a:gdLst/>
            <a:ahLst/>
            <a:cxnLst/>
            <a:rect l="l" t="t" r="r" b="b"/>
            <a:pathLst>
              <a:path w="1490966" h="661374">
                <a:moveTo>
                  <a:pt x="882067" y="0"/>
                </a:moveTo>
                <a:cubicBezTo>
                  <a:pt x="1031495" y="0"/>
                  <a:pt x="1157883" y="94445"/>
                  <a:pt x="1198125" y="224882"/>
                </a:cubicBezTo>
                <a:cubicBezTo>
                  <a:pt x="1213923" y="221952"/>
                  <a:pt x="1230281" y="220426"/>
                  <a:pt x="1247033" y="220426"/>
                </a:cubicBezTo>
                <a:cubicBezTo>
                  <a:pt x="1381753" y="220426"/>
                  <a:pt x="1490966" y="319136"/>
                  <a:pt x="1490966" y="440900"/>
                </a:cubicBezTo>
                <a:cubicBezTo>
                  <a:pt x="1490966" y="555058"/>
                  <a:pt x="1394971" y="648952"/>
                  <a:pt x="1271857" y="659112"/>
                </a:cubicBezTo>
                <a:lnTo>
                  <a:pt x="1271857" y="661374"/>
                </a:lnTo>
                <a:lnTo>
                  <a:pt x="1247033" y="661374"/>
                </a:lnTo>
                <a:lnTo>
                  <a:pt x="207929" y="661374"/>
                </a:lnTo>
                <a:lnTo>
                  <a:pt x="207928" y="661374"/>
                </a:lnTo>
                <a:lnTo>
                  <a:pt x="207928" y="661374"/>
                </a:lnTo>
                <a:cubicBezTo>
                  <a:pt x="93092" y="661374"/>
                  <a:pt x="0" y="562664"/>
                  <a:pt x="0" y="440900"/>
                </a:cubicBezTo>
                <a:cubicBezTo>
                  <a:pt x="0" y="319136"/>
                  <a:pt x="93093" y="220426"/>
                  <a:pt x="207929" y="220426"/>
                </a:cubicBezTo>
                <a:cubicBezTo>
                  <a:pt x="236743" y="220426"/>
                  <a:pt x="264188" y="226641"/>
                  <a:pt x="289112" y="237929"/>
                </a:cubicBezTo>
                <a:cubicBezTo>
                  <a:pt x="320337" y="155718"/>
                  <a:pt x="399125" y="97623"/>
                  <a:pt x="491302" y="97623"/>
                </a:cubicBezTo>
                <a:cubicBezTo>
                  <a:pt x="535615" y="97623"/>
                  <a:pt x="576833" y="111049"/>
                  <a:pt x="608953" y="137475"/>
                </a:cubicBezTo>
                <a:cubicBezTo>
                  <a:pt x="668646" y="54334"/>
                  <a:pt x="768729" y="0"/>
                  <a:pt x="882067" y="0"/>
                </a:cubicBez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loud</a:t>
            </a:r>
          </a:p>
        </p:txBody>
      </p:sp>
      <p:sp>
        <p:nvSpPr>
          <p:cNvPr id="12" name="Rechteck 11"/>
          <p:cNvSpPr/>
          <p:nvPr/>
        </p:nvSpPr>
        <p:spPr bwMode="auto">
          <a:xfrm>
            <a:off x="3812379" y="3370374"/>
            <a:ext cx="368390" cy="576064"/>
          </a:xfrm>
          <a:custGeom>
            <a:avLst/>
            <a:gdLst/>
            <a:ahLst/>
            <a:cxnLst/>
            <a:rect l="l" t="t" r="r" b="b"/>
            <a:pathLst>
              <a:path w="576064" h="957943">
                <a:moveTo>
                  <a:pt x="302137" y="829611"/>
                </a:moveTo>
                <a:cubicBezTo>
                  <a:pt x="271157" y="829611"/>
                  <a:pt x="246043" y="853790"/>
                  <a:pt x="246043" y="883617"/>
                </a:cubicBezTo>
                <a:cubicBezTo>
                  <a:pt x="246043" y="913444"/>
                  <a:pt x="271157" y="937623"/>
                  <a:pt x="302137" y="937623"/>
                </a:cubicBezTo>
                <a:cubicBezTo>
                  <a:pt x="333117" y="937623"/>
                  <a:pt x="358231" y="913444"/>
                  <a:pt x="358231" y="883617"/>
                </a:cubicBezTo>
                <a:cubicBezTo>
                  <a:pt x="358231" y="853790"/>
                  <a:pt x="333117" y="829611"/>
                  <a:pt x="302137" y="829611"/>
                </a:cubicBezTo>
                <a:close/>
                <a:moveTo>
                  <a:pt x="144017" y="93847"/>
                </a:moveTo>
                <a:cubicBezTo>
                  <a:pt x="104248" y="93847"/>
                  <a:pt x="72008" y="126087"/>
                  <a:pt x="72008" y="165856"/>
                </a:cubicBezTo>
                <a:lnTo>
                  <a:pt x="72008" y="741918"/>
                </a:lnTo>
                <a:cubicBezTo>
                  <a:pt x="72008" y="781687"/>
                  <a:pt x="104248" y="813927"/>
                  <a:pt x="144017" y="813927"/>
                </a:cubicBezTo>
                <a:lnTo>
                  <a:pt x="432047" y="813927"/>
                </a:lnTo>
                <a:cubicBezTo>
                  <a:pt x="471816" y="813927"/>
                  <a:pt x="504056" y="781687"/>
                  <a:pt x="504056" y="741918"/>
                </a:cubicBezTo>
                <a:lnTo>
                  <a:pt x="504056" y="165856"/>
                </a:lnTo>
                <a:cubicBezTo>
                  <a:pt x="504056" y="126087"/>
                  <a:pt x="471816" y="93847"/>
                  <a:pt x="432047" y="93847"/>
                </a:cubicBezTo>
                <a:close/>
                <a:moveTo>
                  <a:pt x="0" y="0"/>
                </a:moveTo>
                <a:lnTo>
                  <a:pt x="576064" y="0"/>
                </a:lnTo>
                <a:lnTo>
                  <a:pt x="576064" y="957943"/>
                </a:lnTo>
                <a:lnTo>
                  <a:pt x="0" y="957943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Gruppieren 18"/>
          <p:cNvGrpSpPr/>
          <p:nvPr/>
        </p:nvGrpSpPr>
        <p:grpSpPr>
          <a:xfrm>
            <a:off x="4439816" y="3365660"/>
            <a:ext cx="720080" cy="580779"/>
            <a:chOff x="2915816" y="3352339"/>
            <a:chExt cx="720080" cy="580779"/>
          </a:xfrm>
        </p:grpSpPr>
        <p:sp>
          <p:nvSpPr>
            <p:cNvPr id="17" name="Rechteck 16"/>
            <p:cNvSpPr/>
            <p:nvPr/>
          </p:nvSpPr>
          <p:spPr bwMode="auto">
            <a:xfrm>
              <a:off x="3203848" y="3773800"/>
              <a:ext cx="144016" cy="11218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hteck 14"/>
            <p:cNvSpPr/>
            <p:nvPr/>
          </p:nvSpPr>
          <p:spPr bwMode="auto">
            <a:xfrm>
              <a:off x="2915816" y="3352339"/>
              <a:ext cx="720080" cy="436701"/>
            </a:xfrm>
            <a:custGeom>
              <a:avLst/>
              <a:gdLst/>
              <a:ahLst/>
              <a:cxnLst/>
              <a:rect l="l" t="t" r="r" b="b"/>
              <a:pathLst>
                <a:path w="720080" h="432048">
                  <a:moveTo>
                    <a:pt x="99843" y="26288"/>
                  </a:moveTo>
                  <a:cubicBezTo>
                    <a:pt x="64831" y="26288"/>
                    <a:pt x="36448" y="54671"/>
                    <a:pt x="36448" y="89683"/>
                  </a:cubicBezTo>
                  <a:lnTo>
                    <a:pt x="36448" y="343253"/>
                  </a:lnTo>
                  <a:cubicBezTo>
                    <a:pt x="36448" y="378265"/>
                    <a:pt x="64831" y="406648"/>
                    <a:pt x="99843" y="406648"/>
                  </a:cubicBezTo>
                  <a:lnTo>
                    <a:pt x="621125" y="406648"/>
                  </a:lnTo>
                  <a:cubicBezTo>
                    <a:pt x="656137" y="406648"/>
                    <a:pt x="684520" y="378265"/>
                    <a:pt x="684520" y="343253"/>
                  </a:cubicBezTo>
                  <a:lnTo>
                    <a:pt x="684520" y="89683"/>
                  </a:lnTo>
                  <a:cubicBezTo>
                    <a:pt x="684520" y="54671"/>
                    <a:pt x="656137" y="26288"/>
                    <a:pt x="621125" y="26288"/>
                  </a:cubicBezTo>
                  <a:close/>
                  <a:moveTo>
                    <a:pt x="0" y="0"/>
                  </a:moveTo>
                  <a:lnTo>
                    <a:pt x="720080" y="0"/>
                  </a:lnTo>
                  <a:lnTo>
                    <a:pt x="720080" y="432048"/>
                  </a:lnTo>
                  <a:lnTo>
                    <a:pt x="0" y="432048"/>
                  </a:ln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Rechteck 17"/>
            <p:cNvSpPr/>
            <p:nvPr/>
          </p:nvSpPr>
          <p:spPr bwMode="auto">
            <a:xfrm>
              <a:off x="3123094" y="3869330"/>
              <a:ext cx="305525" cy="6378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5" name="Gruppieren 54"/>
          <p:cNvGrpSpPr/>
          <p:nvPr/>
        </p:nvGrpSpPr>
        <p:grpSpPr>
          <a:xfrm>
            <a:off x="5411502" y="3397401"/>
            <a:ext cx="834105" cy="504057"/>
            <a:chOff x="4211960" y="3352339"/>
            <a:chExt cx="1080120" cy="652726"/>
          </a:xfrm>
        </p:grpSpPr>
        <p:cxnSp>
          <p:nvCxnSpPr>
            <p:cNvPr id="27" name="Gerade Verbindung mit Pfeil 26"/>
            <p:cNvCxnSpPr/>
            <p:nvPr/>
          </p:nvCxnSpPr>
          <p:spPr bwMode="auto">
            <a:xfrm flipV="1">
              <a:off x="4211960" y="3352339"/>
              <a:ext cx="0" cy="652726"/>
            </a:xfrm>
            <a:prstGeom prst="straightConnector1">
              <a:avLst/>
            </a:prstGeom>
            <a:ln>
              <a:solidFill>
                <a:schemeClr val="accent3">
                  <a:lumMod val="75000"/>
                </a:schemeClr>
              </a:solidFill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5" name="Gerade Verbindung mit Pfeil 64"/>
            <p:cNvCxnSpPr/>
            <p:nvPr/>
          </p:nvCxnSpPr>
          <p:spPr bwMode="auto">
            <a:xfrm>
              <a:off x="4211960" y="4005064"/>
              <a:ext cx="1080120" cy="0"/>
            </a:xfrm>
            <a:prstGeom prst="straightConnector1">
              <a:avLst/>
            </a:prstGeom>
            <a:ln>
              <a:solidFill>
                <a:schemeClr val="accent3">
                  <a:lumMod val="75000"/>
                </a:schemeClr>
              </a:solidFill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8" name="Freihandform 37"/>
            <p:cNvSpPr/>
            <p:nvPr/>
          </p:nvSpPr>
          <p:spPr bwMode="auto">
            <a:xfrm>
              <a:off x="4213860" y="3429000"/>
              <a:ext cx="878896" cy="400892"/>
            </a:xfrm>
            <a:custGeom>
              <a:avLst/>
              <a:gdLst>
                <a:gd name="connsiteX0" fmla="*/ 0 w 735330"/>
                <a:gd name="connsiteY0" fmla="*/ 396240 h 396240"/>
                <a:gd name="connsiteX1" fmla="*/ 163830 w 735330"/>
                <a:gd name="connsiteY1" fmla="*/ 257175 h 396240"/>
                <a:gd name="connsiteX2" fmla="*/ 331470 w 735330"/>
                <a:gd name="connsiteY2" fmla="*/ 346710 h 396240"/>
                <a:gd name="connsiteX3" fmla="*/ 735330 w 735330"/>
                <a:gd name="connsiteY3" fmla="*/ 0 h 39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330" h="396240">
                  <a:moveTo>
                    <a:pt x="0" y="396240"/>
                  </a:moveTo>
                  <a:cubicBezTo>
                    <a:pt x="54292" y="330835"/>
                    <a:pt x="108585" y="265430"/>
                    <a:pt x="163830" y="257175"/>
                  </a:cubicBezTo>
                  <a:cubicBezTo>
                    <a:pt x="219075" y="248920"/>
                    <a:pt x="236220" y="389573"/>
                    <a:pt x="331470" y="346710"/>
                  </a:cubicBezTo>
                  <a:cubicBezTo>
                    <a:pt x="426720" y="303847"/>
                    <a:pt x="581025" y="151923"/>
                    <a:pt x="735330" y="0"/>
                  </a:cubicBez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8" name="Gruppieren 57"/>
          <p:cNvGrpSpPr/>
          <p:nvPr/>
        </p:nvGrpSpPr>
        <p:grpSpPr>
          <a:xfrm>
            <a:off x="6384033" y="3450131"/>
            <a:ext cx="398427" cy="400216"/>
            <a:chOff x="4860032" y="3351277"/>
            <a:chExt cx="547489" cy="549947"/>
          </a:xfrm>
        </p:grpSpPr>
        <p:sp>
          <p:nvSpPr>
            <p:cNvPr id="57" name="Kreis 56"/>
            <p:cNvSpPr/>
            <p:nvPr/>
          </p:nvSpPr>
          <p:spPr bwMode="auto">
            <a:xfrm>
              <a:off x="4860032" y="3397106"/>
              <a:ext cx="504056" cy="504118"/>
            </a:xfrm>
            <a:prstGeom prst="pi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Kreis 73"/>
            <p:cNvSpPr/>
            <p:nvPr/>
          </p:nvSpPr>
          <p:spPr bwMode="auto">
            <a:xfrm>
              <a:off x="4903465" y="3351277"/>
              <a:ext cx="504056" cy="504118"/>
            </a:xfrm>
            <a:prstGeom prst="pie">
              <a:avLst>
                <a:gd name="adj1" fmla="val 16192115"/>
                <a:gd name="adj2" fmla="val 49103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1" name="Gruppieren 60"/>
          <p:cNvGrpSpPr/>
          <p:nvPr/>
        </p:nvGrpSpPr>
        <p:grpSpPr>
          <a:xfrm>
            <a:off x="7038618" y="3419392"/>
            <a:ext cx="432048" cy="508148"/>
            <a:chOff x="8373295" y="1322926"/>
            <a:chExt cx="591193" cy="573342"/>
          </a:xfrm>
        </p:grpSpPr>
        <p:sp>
          <p:nvSpPr>
            <p:cNvPr id="77" name="Gefaltete Ecke 76"/>
            <p:cNvSpPr/>
            <p:nvPr/>
          </p:nvSpPr>
          <p:spPr bwMode="auto">
            <a:xfrm>
              <a:off x="8373295" y="1322926"/>
              <a:ext cx="591193" cy="573342"/>
            </a:xfrm>
            <a:prstGeom prst="foldedCorner">
              <a:avLst>
                <a:gd name="adj" fmla="val 26500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sz="11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60" name="Eine Ecke des Rechtecks abrunden 59"/>
            <p:cNvSpPr/>
            <p:nvPr/>
          </p:nvSpPr>
          <p:spPr bwMode="auto">
            <a:xfrm>
              <a:off x="8445303" y="1412776"/>
              <a:ext cx="144016" cy="88051"/>
            </a:xfrm>
            <a:prstGeom prst="round1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0" name="Eine Ecke des Rechtecks abrunden 89"/>
            <p:cNvSpPr/>
            <p:nvPr/>
          </p:nvSpPr>
          <p:spPr bwMode="auto">
            <a:xfrm>
              <a:off x="8589319" y="1412776"/>
              <a:ext cx="144016" cy="88051"/>
            </a:xfrm>
            <a:prstGeom prst="round1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1" name="Eine Ecke des Rechtecks abrunden 90"/>
            <p:cNvSpPr/>
            <p:nvPr/>
          </p:nvSpPr>
          <p:spPr bwMode="auto">
            <a:xfrm>
              <a:off x="8733335" y="1412776"/>
              <a:ext cx="144016" cy="88051"/>
            </a:xfrm>
            <a:prstGeom prst="round1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2" name="Eine Ecke des Rechtecks abrunden 91"/>
            <p:cNvSpPr/>
            <p:nvPr/>
          </p:nvSpPr>
          <p:spPr bwMode="auto">
            <a:xfrm>
              <a:off x="8447097" y="1504554"/>
              <a:ext cx="144016" cy="88051"/>
            </a:xfrm>
            <a:prstGeom prst="round1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3" name="Eine Ecke des Rechtecks abrunden 92"/>
            <p:cNvSpPr/>
            <p:nvPr/>
          </p:nvSpPr>
          <p:spPr bwMode="auto">
            <a:xfrm>
              <a:off x="8591113" y="1504554"/>
              <a:ext cx="144016" cy="88051"/>
            </a:xfrm>
            <a:prstGeom prst="round1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4" name="Eine Ecke des Rechtecks abrunden 93"/>
            <p:cNvSpPr/>
            <p:nvPr/>
          </p:nvSpPr>
          <p:spPr bwMode="auto">
            <a:xfrm>
              <a:off x="8731430" y="1504554"/>
              <a:ext cx="147715" cy="88051"/>
            </a:xfrm>
            <a:prstGeom prst="round1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5" name="Eine Ecke des Rechtecks abrunden 94"/>
            <p:cNvSpPr/>
            <p:nvPr/>
          </p:nvSpPr>
          <p:spPr bwMode="auto">
            <a:xfrm>
              <a:off x="8447097" y="1593707"/>
              <a:ext cx="144016" cy="88051"/>
            </a:xfrm>
            <a:prstGeom prst="round1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Eine Ecke des Rechtecks abrunden 95"/>
            <p:cNvSpPr/>
            <p:nvPr/>
          </p:nvSpPr>
          <p:spPr bwMode="auto">
            <a:xfrm>
              <a:off x="8591113" y="1593707"/>
              <a:ext cx="144016" cy="88051"/>
            </a:xfrm>
            <a:prstGeom prst="round1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7" name="Eine Ecke des Rechtecks abrunden 96"/>
            <p:cNvSpPr/>
            <p:nvPr/>
          </p:nvSpPr>
          <p:spPr bwMode="auto">
            <a:xfrm>
              <a:off x="8731430" y="1593707"/>
              <a:ext cx="147715" cy="88051"/>
            </a:xfrm>
            <a:prstGeom prst="round1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470242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450457B-8CDE-2972-D505-41E8E78EA8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50457B-8CDE-2972-D505-41E8E78EA8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D6F9F1-3041-49EC-9A8B-42CF90A30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ti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B6FAAE-A45C-6722-DC6E-9AA22F02C4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1143" y="1412776"/>
            <a:ext cx="11523133" cy="1799852"/>
          </a:xfrm>
        </p:spPr>
        <p:txBody>
          <a:bodyPr>
            <a:normAutofit/>
          </a:bodyPr>
          <a:lstStyle/>
          <a:p>
            <a:r>
              <a:rPr lang="en-GB" sz="2000" dirty="0"/>
              <a:t>Companies and platforms are scrambling to leverage the newest Natural Language Generation (NLG) technologies:</a:t>
            </a:r>
          </a:p>
          <a:p>
            <a:endParaRPr lang="en-GB" sz="2000" dirty="0"/>
          </a:p>
          <a:p>
            <a:r>
              <a:rPr lang="en-GB" sz="2000" dirty="0"/>
              <a:t>		</a:t>
            </a:r>
            <a:r>
              <a:rPr lang="en-GB" sz="2000" dirty="0">
                <a:sym typeface="Wingdings" panose="05000000000000000000" pitchFamily="2" charset="2"/>
              </a:rPr>
              <a:t> Assist time-intensive tasks (specifically: requiring effort from users)</a:t>
            </a:r>
          </a:p>
          <a:p>
            <a:r>
              <a:rPr lang="en-GB" sz="2000" dirty="0">
                <a:sym typeface="Wingdings" panose="05000000000000000000" pitchFamily="2" charset="2"/>
              </a:rPr>
              <a:t>		 Automate writing similar texts</a:t>
            </a:r>
          </a:p>
          <a:p>
            <a:endParaRPr lang="en-GB" sz="2000" dirty="0">
              <a:sym typeface="Wingdings" panose="05000000000000000000" pitchFamily="2" charset="2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B28024-246D-8969-BB31-E9C3803CE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8E40EC-DFAD-9D64-2192-036846901C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B17C0A-F949-CC7C-8421-870C8D138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624593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450457B-8CDE-2972-D505-41E8E78EA8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502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50457B-8CDE-2972-D505-41E8E78EA8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D6F9F1-3041-49EC-9A8B-42CF90A30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ti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B6FAAE-A45C-6722-DC6E-9AA22F02C4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1143" y="1412776"/>
            <a:ext cx="11523133" cy="1799852"/>
          </a:xfrm>
        </p:spPr>
        <p:txBody>
          <a:bodyPr>
            <a:normAutofit/>
          </a:bodyPr>
          <a:lstStyle/>
          <a:p>
            <a:r>
              <a:rPr lang="en-GB" sz="2000" dirty="0"/>
              <a:t>Companies and platforms are scrambling to leverage the newest Natural Language Generation (NLG) technologies:</a:t>
            </a:r>
          </a:p>
          <a:p>
            <a:endParaRPr lang="en-GB" sz="2000" dirty="0"/>
          </a:p>
          <a:p>
            <a:r>
              <a:rPr lang="en-GB" sz="2000" dirty="0"/>
              <a:t>		</a:t>
            </a:r>
            <a:r>
              <a:rPr lang="en-GB" sz="2000" dirty="0">
                <a:sym typeface="Wingdings" panose="05000000000000000000" pitchFamily="2" charset="2"/>
              </a:rPr>
              <a:t> Assist time-intensive tasks (specifically: requiring effort from users)</a:t>
            </a:r>
          </a:p>
          <a:p>
            <a:r>
              <a:rPr lang="en-GB" sz="2000" dirty="0">
                <a:sym typeface="Wingdings" panose="05000000000000000000" pitchFamily="2" charset="2"/>
              </a:rPr>
              <a:t>		 Automate writing similar texts</a:t>
            </a:r>
          </a:p>
          <a:p>
            <a:endParaRPr lang="en-GB" sz="2000" dirty="0">
              <a:sym typeface="Wingdings" panose="05000000000000000000" pitchFamily="2" charset="2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B28024-246D-8969-BB31-E9C3803CE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8E40EC-DFAD-9D64-2192-036846901C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B17C0A-F949-CC7C-8421-870C8D138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13" name="Arrow: Bent-Up 12">
            <a:extLst>
              <a:ext uri="{FF2B5EF4-FFF2-40B4-BE49-F238E27FC236}">
                <a16:creationId xmlns:a16="http://schemas.microsoft.com/office/drawing/2014/main" id="{CED14702-A5EB-565F-E34D-088D4E6BB4F7}"/>
              </a:ext>
            </a:extLst>
          </p:cNvPr>
          <p:cNvSpPr/>
          <p:nvPr/>
        </p:nvSpPr>
        <p:spPr bwMode="auto">
          <a:xfrm rot="5400000">
            <a:off x="828867" y="3871946"/>
            <a:ext cx="1512169" cy="1059024"/>
          </a:xfrm>
          <a:prstGeom prst="bentUpArrow">
            <a:avLst>
              <a:gd name="adj1" fmla="val 26870"/>
              <a:gd name="adj2" fmla="val 32011"/>
              <a:gd name="adj3" fmla="val 35042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>
                <a:solidFill>
                  <a:schemeClr val="tx1"/>
                </a:solidFill>
                <a:cs typeface="Arial" pitchFamily="34" charset="0"/>
              </a:rPr>
              <a:t>Until now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FE0A170-A10C-B7A7-6A43-46FD5AD92638}"/>
              </a:ext>
            </a:extLst>
          </p:cNvPr>
          <p:cNvSpPr txBox="1"/>
          <p:nvPr/>
        </p:nvSpPr>
        <p:spPr>
          <a:xfrm>
            <a:off x="2567608" y="3717032"/>
            <a:ext cx="7200800" cy="2308324"/>
          </a:xfrm>
          <a:prstGeom prst="rect">
            <a:avLst/>
          </a:prstGeom>
          <a:noFill/>
          <a:ln w="19050">
            <a:solidFill>
              <a:srgbClr val="0065BD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Welcome to the energetic world of ________! This __________ hails from the town of _________ and is ready to conquer the clubs in their region. With an impressive radius of _____ km, they are prepared to spread their unique blend of _____________ and ______ far and wide. _______ consists of ____ talented musicians who captivate audiences with their creative arrangements and dynamic live performances. Immerse yourself in the world of ______ and let their compelling sound sweep you away!</a:t>
            </a:r>
            <a:endParaRPr lang="en-GB" dirty="0">
              <a:latin typeface="Arial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FDBB182-56C7-2CE2-C3EE-0A0105092B30}"/>
              </a:ext>
            </a:extLst>
          </p:cNvPr>
          <p:cNvSpPr/>
          <p:nvPr/>
        </p:nvSpPr>
        <p:spPr bwMode="auto">
          <a:xfrm>
            <a:off x="2567608" y="3500660"/>
            <a:ext cx="1584176" cy="28803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>
                <a:solidFill>
                  <a:schemeClr val="bg1"/>
                </a:solidFill>
                <a:cs typeface="Arial" pitchFamily="34" charset="0"/>
              </a:rPr>
              <a:t>Templates</a:t>
            </a:r>
          </a:p>
        </p:txBody>
      </p:sp>
    </p:spTree>
    <p:extLst>
      <p:ext uri="{BB962C8B-B14F-4D97-AF65-F5344CB8AC3E}">
        <p14:creationId xmlns:p14="http://schemas.microsoft.com/office/powerpoint/2010/main" val="67510361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0E3F5E90-9966-2334-84CE-A06D2C4FC0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3F5E90-9966-2334-84CE-A06D2C4FC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2FE03D-328F-AA7C-7DC4-BB3F1D2BB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tiv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4EC17F-828B-A370-5F52-F7885C18D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E8188A-ABB1-6FE0-7465-43AE74B47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B6EA9-4B0E-EB9D-8FE6-311E415F9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72B296-C223-2D49-4CA4-E4881D25195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72" r="424" b="723"/>
          <a:stretch/>
        </p:blipFill>
        <p:spPr>
          <a:xfrm>
            <a:off x="8532512" y="761551"/>
            <a:ext cx="3396136" cy="569178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801F148-11EC-91D6-791C-E9F9221FF36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40" r="1442" b="2043"/>
          <a:stretch/>
        </p:blipFill>
        <p:spPr>
          <a:xfrm>
            <a:off x="4485396" y="789329"/>
            <a:ext cx="3396136" cy="5591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E9E7AD-6E0B-F0CD-00E3-644012D43E9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83" b="491"/>
          <a:stretch/>
        </p:blipFill>
        <p:spPr>
          <a:xfrm>
            <a:off x="350742" y="784217"/>
            <a:ext cx="3479807" cy="568459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89E0FF5-99B6-4B40-B877-D768402B58E1}"/>
              </a:ext>
            </a:extLst>
          </p:cNvPr>
          <p:cNvSpPr txBox="1"/>
          <p:nvPr/>
        </p:nvSpPr>
        <p:spPr>
          <a:xfrm>
            <a:off x="4489263" y="4365104"/>
            <a:ext cx="3392269" cy="1384995"/>
          </a:xfrm>
          <a:prstGeom prst="rect">
            <a:avLst/>
          </a:prstGeom>
          <a:solidFill>
            <a:schemeClr val="bg1"/>
          </a:solidFill>
          <a:ln w="19050">
            <a:solidFill>
              <a:srgbClr val="0065BD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Lasst euch von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patty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, dem 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Rock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-DJ aus 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Dortmund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, in eine unvergessliche musikalische Welt entführen! In einem Umkreis von 300 km steht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patty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 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bereit, die Clubs der Region mit mitreißenden 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Party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klängen zu erobern.</a:t>
            </a:r>
            <a:endParaRPr lang="en-GB" sz="1400" dirty="0">
              <a:solidFill>
                <a:srgbClr val="FF8000"/>
              </a:solidFill>
              <a:latin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889C7B-207C-684C-2455-A666E6A9298F}"/>
              </a:ext>
            </a:extLst>
          </p:cNvPr>
          <p:cNvSpPr txBox="1"/>
          <p:nvPr/>
        </p:nvSpPr>
        <p:spPr>
          <a:xfrm>
            <a:off x="350742" y="4365104"/>
            <a:ext cx="3483674" cy="1384995"/>
          </a:xfrm>
          <a:prstGeom prst="rect">
            <a:avLst/>
          </a:prstGeom>
          <a:solidFill>
            <a:schemeClr val="bg1"/>
          </a:solidFill>
          <a:ln w="19050">
            <a:solidFill>
              <a:srgbClr val="0065BD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Lasst euch von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Rafe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 Pressler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, dem 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Schlager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-DJ aus 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Aschaffenburg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, in eine unvergessliche musikalische Welt entführen! In einem Umkreis von 300 km steht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Rafe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 Pressler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 bereit, die Clubs der Region mit mitreißenden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Schlager</a:t>
            </a:r>
            <a:r>
              <a:rPr lang="de-DE" sz="1400" dirty="0" err="1">
                <a:solidFill>
                  <a:srgbClr val="FF8000"/>
                </a:solidFill>
                <a:latin typeface="Arial" pitchFamily="34" charset="0"/>
              </a:rPr>
              <a:t>klän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…</a:t>
            </a:r>
            <a:endParaRPr lang="en-GB" sz="1400" dirty="0">
              <a:solidFill>
                <a:srgbClr val="FF8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54229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C1DA42-DCA7-6CB5-5B04-57AEA54796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C1DA42-DCA7-6CB5-5B04-57AEA5479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E7D471-2336-EE97-DCBD-B0E6EFA79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otivation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FB60B7-B38E-1ED5-5390-AA294C9D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60362E-3410-E584-402F-B5C311CDF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C0F02D-BB61-0EAC-9E99-24F74B8E4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pic>
        <p:nvPicPr>
          <p:cNvPr id="11" name="Content Placeholder 10" descr="A picture containing text, diagram, map, plan&#10;&#10;Description automatically generated">
            <a:extLst>
              <a:ext uri="{FF2B5EF4-FFF2-40B4-BE49-F238E27FC236}">
                <a16:creationId xmlns:a16="http://schemas.microsoft.com/office/drawing/2014/main" id="{06A2760D-42CA-26A7-6847-94AFB4551D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9857" y="981075"/>
            <a:ext cx="6692286" cy="5400675"/>
          </a:xfr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B9F71FE-3751-640B-34E9-BC28FDBD4BC1}"/>
              </a:ext>
            </a:extLst>
          </p:cNvPr>
          <p:cNvSpPr txBox="1"/>
          <p:nvPr/>
        </p:nvSpPr>
        <p:spPr>
          <a:xfrm>
            <a:off x="10128448" y="5799635"/>
            <a:ext cx="1822218" cy="769441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100" dirty="0">
                <a:hlinkClick r:id="rId7"/>
              </a:rPr>
              <a:t>https://github.com/Mooler0410/LLMsPracticalGuide/blob/main/imgs/models-colorgrey.jpg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47579827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0E3F5E90-9966-2334-84CE-A06D2C4FC0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3F5E90-9966-2334-84CE-A06D2C4FC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2FE03D-328F-AA7C-7DC4-BB3F1D2BB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tiv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4EC17F-828B-A370-5F52-F7885C18D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E8188A-ABB1-6FE0-7465-43AE74B47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B6EA9-4B0E-EB9D-8FE6-311E415F9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72B296-C223-2D49-4CA4-E4881D25195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72" r="424" b="723"/>
          <a:stretch/>
        </p:blipFill>
        <p:spPr>
          <a:xfrm>
            <a:off x="8532512" y="761551"/>
            <a:ext cx="3396136" cy="569178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801F148-11EC-91D6-791C-E9F9221FF36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40" r="1442" b="2043"/>
          <a:stretch/>
        </p:blipFill>
        <p:spPr>
          <a:xfrm>
            <a:off x="4485396" y="789329"/>
            <a:ext cx="3396136" cy="5591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E9E7AD-6E0B-F0CD-00E3-644012D43E9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83" b="491"/>
          <a:stretch/>
        </p:blipFill>
        <p:spPr>
          <a:xfrm>
            <a:off x="350742" y="784217"/>
            <a:ext cx="3479807" cy="568459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89E0FF5-99B6-4B40-B877-D768402B58E1}"/>
              </a:ext>
            </a:extLst>
          </p:cNvPr>
          <p:cNvSpPr txBox="1"/>
          <p:nvPr/>
        </p:nvSpPr>
        <p:spPr>
          <a:xfrm>
            <a:off x="4583832" y="4365104"/>
            <a:ext cx="3096344" cy="1384995"/>
          </a:xfrm>
          <a:prstGeom prst="rect">
            <a:avLst/>
          </a:prstGeom>
          <a:solidFill>
            <a:schemeClr val="bg1"/>
          </a:solidFill>
          <a:ln w="19050">
            <a:solidFill>
              <a:srgbClr val="0065BD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Hier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DJ Patty, fresh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aus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Dortmund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mit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den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besten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underground tunes für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euch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. </a:t>
            </a:r>
            <a:br>
              <a:rPr lang="en-GB" sz="1400" dirty="0">
                <a:solidFill>
                  <a:srgbClr val="FF8000"/>
                </a:solidFill>
                <a:latin typeface="Arial" pitchFamily="34" charset="0"/>
              </a:rPr>
            </a:b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Tanzt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ihr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de-DE" sz="1400" dirty="0">
                <a:solidFill>
                  <a:srgbClr val="FF8000"/>
                </a:solidFill>
                <a:latin typeface="Arial" pitchFamily="34" charset="0"/>
              </a:rPr>
              <a:t>lieber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zu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Rock und Pop? Dann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steht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auch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da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mein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Repertoire für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euch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zur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Verfügung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889C7B-207C-684C-2455-A666E6A9298F}"/>
              </a:ext>
            </a:extLst>
          </p:cNvPr>
          <p:cNvSpPr txBox="1"/>
          <p:nvPr/>
        </p:nvSpPr>
        <p:spPr>
          <a:xfrm>
            <a:off x="438280" y="4365104"/>
            <a:ext cx="3396136" cy="1384995"/>
          </a:xfrm>
          <a:prstGeom prst="rect">
            <a:avLst/>
          </a:prstGeom>
          <a:solidFill>
            <a:schemeClr val="bg1"/>
          </a:solidFill>
          <a:ln w="19050">
            <a:solidFill>
              <a:srgbClr val="0065BD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Zu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jedem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Fest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gehört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Musik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. Ob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Hochzeit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,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Firmenevent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oder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Party,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meine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Künste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bringen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selbst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den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faulsten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Tiger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zum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tanzen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.</a:t>
            </a:r>
          </a:p>
          <a:p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Ich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komme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zu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euren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Events in Aschaffenburg und </a:t>
            </a:r>
            <a:r>
              <a:rPr lang="en-GB" sz="1400" dirty="0" err="1">
                <a:solidFill>
                  <a:srgbClr val="FF8000"/>
                </a:solidFill>
                <a:latin typeface="Arial" pitchFamily="34" charset="0"/>
              </a:rPr>
              <a:t>Umgebung</a:t>
            </a:r>
            <a:r>
              <a:rPr lang="en-GB" sz="1400" dirty="0">
                <a:solidFill>
                  <a:srgbClr val="FF8000"/>
                </a:solidFill>
                <a:latin typeface="Arial" pitchFamily="34" charset="0"/>
              </a:rPr>
              <a:t> …</a:t>
            </a:r>
          </a:p>
        </p:txBody>
      </p:sp>
    </p:spTree>
    <p:extLst>
      <p:ext uri="{BB962C8B-B14F-4D97-AF65-F5344CB8AC3E}">
        <p14:creationId xmlns:p14="http://schemas.microsoft.com/office/powerpoint/2010/main" val="417338858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F25E8E-2DBD-927C-BF30-9085D3BE05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3017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F25E8E-2DBD-927C-BF30-9085D3BE05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DE23B3-F395-51C1-2978-200B4A71E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ti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046C6-9259-A622-3AFE-89E1088455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LLMs still suffer from repetitions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AFF9C-794F-68D0-5B10-FCB1A791E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8B2E8D-CE7A-9ABE-E9EE-4B5100EF0D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230628 Alexandre Mercier Using advanced NLG technology to push language diversity in user-facing application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D91644-648C-4289-3D3A-BBACF94B6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1E13A8-1879-12E8-43C4-41EFC7693E0F}"/>
              </a:ext>
            </a:extLst>
          </p:cNvPr>
          <p:cNvSpPr txBox="1"/>
          <p:nvPr/>
        </p:nvSpPr>
        <p:spPr>
          <a:xfrm>
            <a:off x="5627486" y="3450580"/>
            <a:ext cx="5905582" cy="461665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200" b="0" i="0" u="none" strike="noStrike" baseline="0" dirty="0">
                <a:latin typeface="Calibri" panose="020F0502020204030204" pitchFamily="34" charset="0"/>
              </a:rPr>
              <a:t>S. </a:t>
            </a:r>
            <a:r>
              <a:rPr lang="en-US" sz="1200" b="0" i="0" u="none" strike="noStrike" baseline="0" dirty="0" err="1">
                <a:latin typeface="Calibri" panose="020F0502020204030204" pitchFamily="34" charset="0"/>
              </a:rPr>
              <a:t>Jentzsch</a:t>
            </a:r>
            <a:r>
              <a:rPr lang="en-US" sz="1200" b="0" i="0" u="none" strike="noStrike" baseline="0" dirty="0">
                <a:latin typeface="Calibri" panose="020F0502020204030204" pitchFamily="34" charset="0"/>
              </a:rPr>
              <a:t> and K. </a:t>
            </a:r>
            <a:r>
              <a:rPr lang="en-US" sz="1200" b="0" i="0" u="none" strike="noStrike" baseline="0" dirty="0" err="1">
                <a:latin typeface="Calibri" panose="020F0502020204030204" pitchFamily="34" charset="0"/>
              </a:rPr>
              <a:t>Kersting</a:t>
            </a:r>
            <a:r>
              <a:rPr lang="en-US" sz="1200" b="0" i="0" u="none" strike="noStrike" baseline="0" dirty="0">
                <a:latin typeface="Calibri" panose="020F0502020204030204" pitchFamily="34" charset="0"/>
              </a:rPr>
              <a:t>, “ChatGPT is fun, but it is not funny! Humor is still challenging Large Language Models,” Jun. 2023. [Online]. Available: </a:t>
            </a:r>
            <a:r>
              <a:rPr lang="en-US" sz="1200" b="0" i="0" u="none" strike="noStrike" baseline="0" dirty="0">
                <a:latin typeface="Calibri" panose="020F0502020204030204" pitchFamily="34" charset="0"/>
                <a:hlinkClick r:id="rId6"/>
              </a:rPr>
              <a:t>http://arxiv.org/pdf/2306.04563v1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B6BEAA-F1FC-0F9E-FE30-1F49C3BB00F5}"/>
              </a:ext>
            </a:extLst>
          </p:cNvPr>
          <p:cNvSpPr txBox="1"/>
          <p:nvPr/>
        </p:nvSpPr>
        <p:spPr>
          <a:xfrm>
            <a:off x="623392" y="2922069"/>
            <a:ext cx="10585130" cy="523220"/>
          </a:xfrm>
          <a:prstGeom prst="rect">
            <a:avLst/>
          </a:prstGeom>
          <a:noFill/>
          <a:ln w="25400" cap="flat" cmpd="sng" algn="ctr">
            <a:solidFill>
              <a:srgbClr val="0065BD"/>
            </a:solidFill>
            <a:prstDash val="solid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2800" b="1" dirty="0"/>
              <a:t>“Over 90% of 1008 generated jokes were the same 25 Jokes.”</a:t>
            </a:r>
            <a:endParaRPr lang="en-DE" sz="2800" b="1" dirty="0"/>
          </a:p>
        </p:txBody>
      </p:sp>
    </p:spTree>
    <p:extLst>
      <p:ext uri="{BB962C8B-B14F-4D97-AF65-F5344CB8AC3E}">
        <p14:creationId xmlns:p14="http://schemas.microsoft.com/office/powerpoint/2010/main" val="128701214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6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31&quot; g=&quot;E3&quot; b=&quot;5A&quot;/&gt;&lt;/elem&gt;&lt;elem m_fUsage=&quot;9.00000000000000022204E-01&quot;&gt;&lt;m_msothmcolidx val=&quot;0&quot;/&gt;&lt;m_rgb r=&quot;DD&quot; g=&quot;A4&quot; b=&quot;3F&quot;/&gt;&lt;/elem&gt;&lt;elem m_fUsage=&quot;8.10000000000000053291E-01&quot;&gt;&lt;m_msothmcolidx val=&quot;0&quot;/&gt;&lt;m_rgb r=&quot;DD&quot; g=&quot;B9&quot; b=&quot;3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r6IAZOJZjYa6725n9z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xKnMU8oIpciyapZeJr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GFbTFJz_FmjUw_lr52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cE5O6mWO.CyORZpV_Q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xc.hyWO1WXbV7Om8Oh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orBb5Y8QobPfiHmHlN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6R3k4CzEU_BQb3.P8F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3Cp_TavARJ4oE2mqPv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Q_E90HFSPZQQPifZRR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bQe7iNByoMzySz7.Sh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wmmI1pB4hylqWIQcz.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7rWiSMzn_9kHFof_r3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EgnniKKOHypH2QJXl7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B5O9j05qtTlk1IDV1x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uK2tb8zO5pvshirOv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oOniDRkQBOXpQLGJTB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9DPa9SxRXa8f7RGrAr.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JkL9nSuuWN4KMG7JuU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obAmbiKFYnk_iHjCFvg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CTbp0ahIgb5K8EITY2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aX9qXHQ6_O73Ey6wcf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4hmHlNlMNSMZ3XGyLKT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a5paPVPIjnNdCeVDRp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eunyeecTONIGfplWjw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Pnm9PxAgGEg6sAwqGH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VhPeBTJXj6tgZVRlrd2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d6OYYhq1VqVB_B7s_O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O0KumrWcJrc15EZ.xol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H9h8_GC0vNgvysNohK5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lj.dYWvk1_qaqBCqy8s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P67pqre6RK6.Jl2FTa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JFGFW6ijdwqrgtm46OY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0YQTza1MVdlGKQR5qE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q1fomiVFC4HL.MlcxQZ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PI3vSVKUvo.4Fc.oCS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aM6YPBBEdTSSGicds5U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okF5.w8Iwy_9V7KLFv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iQOdgk8ZG2za_lLrp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x7uUdyrWQot3imCSo1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hPG998V1cpSi7AN5KUZ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uzMDv1dNrje2ZhHO1C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KFN7Rq10n9RCSmFl9iA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B6lB5xuFUxe3EX2hbt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0.fNdnvh1LQ3pPq6Qb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67W9fR0dGyshIkKXZV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Mts3dMe6k.bjCKDtGz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OTy3Ka.TLcpkGYZIg5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uCsLkoFSwKL0dJOph.z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6CNFWTfYPtnR7XW6Zk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TKwVITrMrHjW_6CD_je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o6egvuPxlcba5kukZg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MGTr_gYLP1rD4wckn1J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02.M8nKUAEWtVkK9tt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9UALG0fUp_1px5m6bk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UGE2jmx1joQYYv99pz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1YmxTPxKSWD1gTwO.k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ixeABxLZRn6nh9EeHf1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yuayyhA74poXXNpVh3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py.cAHlJY69xeEpAFsz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jZl5PUhmT.VfctBDlA3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RUoBd7wTZcigScVStjA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DB5iyupPPjCfmmB49T1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W6kWztJU7ilb7JznMY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.yvQrXD4e_MbKnt_RE1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BNVNRl.HaBL9taFsdM_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Qi2ILYwjj.tQ3UHLXe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xqcHDUzwL1XbDE9lvF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gRFh.pKs8JTWY3pkfC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QYGiKda_2VmMCrO6t.J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SsnqTsECBPmr_SWaZzW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tTrSO90_wn9oM6x_iC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hb1QYax6Ipyfbalpvrw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0j.HjMj0.LAk_h7WMKDA"/>
</p:tagLst>
</file>

<file path=ppt/theme/theme1.xml><?xml version="1.0" encoding="utf-8"?>
<a:theme xmlns:a="http://schemas.openxmlformats.org/drawingml/2006/main" name="Slides sebis 2013 2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a:style>
    </a:spDef>
    <a:lnDef>
      <a:spPr bwMode="auto">
        <a:ln>
          <a:headEnd type="none" w="med" len="med"/>
          <a:tailEnd type="arrow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21117 Matthes Sebis Slide Template.potx" id="{D724EFF0-4EB2-48F6-87FB-7D36C85BDC7A}" vid="{9A462AD5-5582-43BE-A858-F49B2CF98D86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79</TotalTime>
  <Words>3513</Words>
  <Application>Microsoft Office PowerPoint</Application>
  <PresentationFormat>Widescreen</PresentationFormat>
  <Paragraphs>567</Paragraphs>
  <Slides>35</Slides>
  <Notes>31</Notes>
  <HiddenSlides>7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3" baseType="lpstr">
      <vt:lpstr>Arial</vt:lpstr>
      <vt:lpstr>Arial Unicode MS</vt:lpstr>
      <vt:lpstr>Calibri</vt:lpstr>
      <vt:lpstr>Helvetica Neue</vt:lpstr>
      <vt:lpstr>TUM Neue Helvetica 75 Bold</vt:lpstr>
      <vt:lpstr>Wingdings</vt:lpstr>
      <vt:lpstr>Slides sebis 2013 2</vt:lpstr>
      <vt:lpstr>think-cell Slide</vt:lpstr>
      <vt:lpstr>Investigating data to text approaches to achieve diversity of generated marketing text in the music industry</vt:lpstr>
      <vt:lpstr>Outline</vt:lpstr>
      <vt:lpstr>Motivation</vt:lpstr>
      <vt:lpstr>Motivation</vt:lpstr>
      <vt:lpstr>Motivation</vt:lpstr>
      <vt:lpstr>Motivation</vt:lpstr>
      <vt:lpstr>Motivation</vt:lpstr>
      <vt:lpstr>Motivation</vt:lpstr>
      <vt:lpstr>Motivation</vt:lpstr>
      <vt:lpstr>Industry partner</vt:lpstr>
      <vt:lpstr>Impact</vt:lpstr>
      <vt:lpstr>Outline</vt:lpstr>
      <vt:lpstr>Methodology</vt:lpstr>
      <vt:lpstr>Methodology</vt:lpstr>
      <vt:lpstr>Solution</vt:lpstr>
      <vt:lpstr>PowerPoint Presentation</vt:lpstr>
      <vt:lpstr>Outline</vt:lpstr>
      <vt:lpstr>Problem statement and goal</vt:lpstr>
      <vt:lpstr>Problem statement and goal</vt:lpstr>
      <vt:lpstr>Outline</vt:lpstr>
      <vt:lpstr>Approach</vt:lpstr>
      <vt:lpstr>Approach</vt:lpstr>
      <vt:lpstr>Approach</vt:lpstr>
      <vt:lpstr>Approach</vt:lpstr>
      <vt:lpstr>Approach</vt:lpstr>
      <vt:lpstr>Evaluation metrics</vt:lpstr>
      <vt:lpstr>Evaluation metrics</vt:lpstr>
      <vt:lpstr>Proof of concept</vt:lpstr>
      <vt:lpstr>Tech stack</vt:lpstr>
      <vt:lpstr>Outline</vt:lpstr>
      <vt:lpstr>Timeline</vt:lpstr>
      <vt:lpstr>Timeline</vt:lpstr>
      <vt:lpstr>References</vt:lpstr>
      <vt:lpstr>Stick to the good sebis traditions</vt:lpstr>
      <vt:lpstr>Use the sebis visual language  (shapes, fonts, colors, sizes)</vt:lpstr>
    </vt:vector>
  </TitlesOfParts>
  <Manager/>
  <Company>TU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isenbacher, Stephen</dc:creator>
  <dc:description>Copyright sebis</dc:description>
  <cp:lastModifiedBy>Alexandre Mercier</cp:lastModifiedBy>
  <cp:revision>2</cp:revision>
  <dcterms:created xsi:type="dcterms:W3CDTF">2022-11-21T08:34:20Z</dcterms:created>
  <dcterms:modified xsi:type="dcterms:W3CDTF">2023-06-28T11:31:21Z</dcterms:modified>
</cp:coreProperties>
</file>